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2.xml" ContentType="application/vnd.openxmlformats-officedocument.theme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3" r:id="rId5"/>
    <p:sldMasterId id="2147483748" r:id="rId6"/>
    <p:sldMasterId id="2147483781" r:id="rId7"/>
  </p:sldMasterIdLst>
  <p:notesMasterIdLst>
    <p:notesMasterId r:id="rId13"/>
  </p:notesMasterIdLst>
  <p:handoutMasterIdLst>
    <p:handoutMasterId r:id="rId14"/>
  </p:handoutMasterIdLst>
  <p:sldIdLst>
    <p:sldId id="296" r:id="rId8"/>
    <p:sldId id="307" r:id="rId9"/>
    <p:sldId id="453" r:id="rId10"/>
    <p:sldId id="366" r:id="rId11"/>
    <p:sldId id="460" r:id="rId12"/>
  </p:sldIdLst>
  <p:sldSz cx="12192000" cy="6858000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105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Erin Beck" initials="EB" lastIdx="25" clrIdx="0"/>
  <p:cmAuthor id="2" name="Hollie Adams" initials="HA" lastIdx="2" clrIdx="1"/>
  <p:cmAuthor id="3" name="Molly Cate" initials="MC" lastIdx="3" clrIdx="2"/>
  <p:cmAuthor id="4" name="Aaron Campbell" initials="AC" lastIdx="4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975A7"/>
    <a:srgbClr val="41B4E6"/>
    <a:srgbClr val="506D85"/>
    <a:srgbClr val="78BD20"/>
    <a:srgbClr val="7C7E82"/>
    <a:srgbClr val="949699"/>
    <a:srgbClr val="C5E8F7"/>
    <a:srgbClr val="516D86"/>
    <a:srgbClr val="EAF8D8"/>
    <a:srgbClr val="D3F0F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82" autoAdjust="0"/>
    <p:restoredTop sz="88546" autoAdjust="0"/>
  </p:normalViewPr>
  <p:slideViewPr>
    <p:cSldViewPr snapToGrid="0" snapToObjects="1">
      <p:cViewPr varScale="1">
        <p:scale>
          <a:sx n="64" d="100"/>
          <a:sy n="64" d="100"/>
        </p:scale>
        <p:origin x="88" y="32"/>
      </p:cViewPr>
      <p:guideLst>
        <p:guide orient="horz" pos="2160"/>
        <p:guide pos="3840"/>
        <p:guide orient="horz" pos="10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5" Type="http://schemas.openxmlformats.org/officeDocument/2006/relationships/slideMaster" Target="slideMasters/slideMaster2.xml"/><Relationship Id="rId15" Type="http://schemas.openxmlformats.org/officeDocument/2006/relationships/commentAuthors" Target="commentAuthors.xml"/><Relationship Id="rId10" Type="http://schemas.openxmlformats.org/officeDocument/2006/relationships/slide" Target="slides/slide3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21058DBB-26C8-4939-9957-07177B21E62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E073F7A-3A98-48C2-9683-78C2F95A088C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7D3F2A8-56AA-48F8-84BE-44326476A48B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08DD6ED-567F-45AE-88B4-D2526BDA2C1B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F4395B-346F-49E1-BB1B-AC718D7DA449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CF5B34BF-58ED-4CAC-9260-5BC4825C7610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0058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444E54CA-08CC-684A-A0FC-99CC2F7B825F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D52A9F1-B7EC-5B43-8D04-1A5CE9CAD5C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1672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2A9F1-B7EC-5B43-8D04-1A5CE9CAD5C9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79041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2A9F1-B7EC-5B43-8D04-1A5CE9CAD5C9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02310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2A9F1-B7EC-5B43-8D04-1A5CE9CAD5C9}" type="slidenum">
              <a:rPr lang="en-US" smtClean="0">
                <a:solidFill>
                  <a:prstClr val="black"/>
                </a:solidFill>
              </a:rPr>
              <a:pPr/>
              <a:t>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68934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2A9F1-B7EC-5B43-8D04-1A5CE9CAD5C9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89846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7550" y="1162050"/>
            <a:ext cx="5575300" cy="3136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US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D52A9F1-B7EC-5B43-8D04-1A5CE9CAD5C9}" type="slidenum">
              <a:rPr lang="en-US" smtClean="0">
                <a:solidFill>
                  <a:prstClr val="black"/>
                </a:solidFill>
              </a:rPr>
              <a:pPr/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646493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.xml"/><Relationship Id="rId6" Type="http://schemas.openxmlformats.org/officeDocument/2006/relationships/image" Target="../media/image14.png"/><Relationship Id="rId5" Type="http://schemas.openxmlformats.org/officeDocument/2006/relationships/image" Target="../media/image15.png"/><Relationship Id="rId4" Type="http://schemas.openxmlformats.org/officeDocument/2006/relationships/image" Target="../media/image1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4.xml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fuqua.duke.edu/programs/weekend-executive-mba" TargetMode="External"/><Relationship Id="rId2" Type="http://schemas.openxmlformats.org/officeDocument/2006/relationships/hyperlink" Target="https://www.kellogg.northwestern.edu/programs/executive-mba.aspx" TargetMode="External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4.png"/><Relationship Id="rId5" Type="http://schemas.openxmlformats.org/officeDocument/2006/relationships/hyperlink" Target="https://executivemba.wharton.upenn.edu/emba-program-details/" TargetMode="External"/><Relationship Id="rId4" Type="http://schemas.openxmlformats.org/officeDocument/2006/relationships/hyperlink" Target="https://michiganross.umich.edu/graduate/executive-mba" TargetMode="Externa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C0EA7A9-CB47-C64B-8C73-EA3FB99495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7BDB8BA-A19B-2F4F-8237-33C8597E88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8288" y="846942"/>
            <a:ext cx="8655424" cy="2387600"/>
          </a:xfrm>
        </p:spPr>
        <p:txBody>
          <a:bodyPr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E458D8-B668-C84E-9DE1-BD4EA7B82C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12576" y="3326617"/>
            <a:ext cx="8166848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6A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14146A-2315-7B4F-B911-0C361A80C0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6393" y="6037855"/>
            <a:ext cx="1844019" cy="584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9951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4B628E-69AF-5F41-B600-AA92A8276E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CB8405-E925-4B46-826A-86DDE3BEC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E172AD-8F9A-CD42-9BAB-FE2BF24E82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4CC38B-C17A-0E45-93B9-F89AA57AFC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1118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CB8132-9187-D849-B9B9-1356645D7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67F4B-518D-214A-A879-9289CB1DD2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3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AAD7BC-6E69-7B45-8578-06053A8871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2A5610-2A5E-3E4C-8963-7A447E10D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1FA7F6-A6AE-214D-A13E-731E49F2A4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EF3A4E-FB8E-874A-84E7-BCEB98081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4CC38B-C17A-0E45-93B9-F89AA57AFC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44162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CE155-EA05-FD40-ABA6-674B67630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6740F8F-BEBF-DE46-B163-3F75C5A7791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3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45CD31-0BB3-3140-A387-488EF3A8B7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5EA9BE-59FA-E447-A719-B66AD74303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D2CD21-5E18-DB4E-B3C9-EC0D530F0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5CD079-B4D5-1F4E-81D0-315931224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4CC38B-C17A-0E45-93B9-F89AA57AFC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10727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A205D7-E8B8-3040-B2BC-5E34B0B68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1965B6-216F-244D-A443-0B46258DA6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C42C59-6AC9-004C-8867-28E5C9106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783D32-A097-7240-89FC-E0F4A9853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146EDA-38A7-6C4B-9755-FD24A71058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4CC38B-C17A-0E45-93B9-F89AA57AFC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678168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1D03207-AF21-8041-9C7B-9D67D755A0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10DB84-85A6-3B4E-8D76-2B59533323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BAC75B-778E-1949-AE18-2BB57D39B7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48686D-93B0-0E48-8178-1801E25BC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727E84D-E4C0-5F40-8213-78974BEB5C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4CC38B-C17A-0E45-93B9-F89AA57AFC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6818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C0EA7A9-CB47-C64B-8C73-EA3FB99495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7BDB8BA-A19B-2F4F-8237-33C8597E88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8288" y="846942"/>
            <a:ext cx="8655424" cy="2387600"/>
          </a:xfrm>
        </p:spPr>
        <p:txBody>
          <a:bodyPr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E458D8-B668-C84E-9DE1-BD4EA7B82C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12576" y="3326617"/>
            <a:ext cx="8166848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6A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14146A-2315-7B4F-B911-0C361A80C0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6393" y="6037854"/>
            <a:ext cx="1844019" cy="584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03494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EF672-1096-3148-AE57-6A661B75B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621" y="420223"/>
            <a:ext cx="8538211" cy="720725"/>
          </a:xfrm>
        </p:spPr>
        <p:txBody>
          <a:bodyPr anchor="t">
            <a:normAutofit/>
          </a:bodyPr>
          <a:lstStyle>
            <a:lvl1pPr>
              <a:defRPr sz="4000" b="1" i="0">
                <a:solidFill>
                  <a:srgbClr val="41B4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58C48E-C617-8347-B881-41E6A84920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491" y="1416624"/>
            <a:ext cx="1115568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1200"/>
              </a:spcAft>
              <a:buClr>
                <a:srgbClr val="0075A8"/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1B4E6"/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B7CDA-3CA2-974E-9CA4-19A9C553983F}"/>
              </a:ext>
            </a:extLst>
          </p:cNvPr>
          <p:cNvCxnSpPr/>
          <p:nvPr userDrawn="1"/>
        </p:nvCxnSpPr>
        <p:spPr>
          <a:xfrm>
            <a:off x="400058" y="1136940"/>
            <a:ext cx="11304271" cy="0"/>
          </a:xfrm>
          <a:prstGeom prst="line">
            <a:avLst/>
          </a:prstGeom>
          <a:ln>
            <a:solidFill>
              <a:srgbClr val="78BD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EEF8339-C95D-4B41-B4BE-B8CF16D3A1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4164" y="403189"/>
            <a:ext cx="1921664" cy="628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431682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1E7CAEC-8C03-A24E-9821-D41C3B860D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6158" y="1709752"/>
            <a:ext cx="7987031" cy="2852737"/>
          </a:xfrm>
        </p:spPr>
        <p:txBody>
          <a:bodyPr anchor="b"/>
          <a:lstStyle>
            <a:lvl1pPr>
              <a:defRPr sz="6000">
                <a:solidFill>
                  <a:srgbClr val="41B4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86158" y="4589477"/>
            <a:ext cx="7987031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9C62001-AFA0-C744-A34B-70686E522B2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072" y="414361"/>
            <a:ext cx="2066757" cy="654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012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1E7CAEC-8C03-A24E-9821-D41C3B860D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6158" y="1709752"/>
            <a:ext cx="7987031" cy="2852737"/>
          </a:xfrm>
        </p:spPr>
        <p:txBody>
          <a:bodyPr anchor="b"/>
          <a:lstStyle>
            <a:lvl1pPr>
              <a:defRPr sz="6000">
                <a:solidFill>
                  <a:srgbClr val="78BD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86158" y="4589477"/>
            <a:ext cx="7987031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41B4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B2AD5A-212B-964C-8319-578F6EE427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072" y="414361"/>
            <a:ext cx="2066757" cy="654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1390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1E7CAEC-8C03-A24E-9821-D41C3B860D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6158" y="1709752"/>
            <a:ext cx="7987031" cy="2852737"/>
          </a:xfrm>
        </p:spPr>
        <p:txBody>
          <a:bodyPr anchor="b"/>
          <a:lstStyle>
            <a:lvl1pPr>
              <a:defRPr sz="600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86158" y="4589477"/>
            <a:ext cx="7987031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78BD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5A42C0E-3BD0-944A-A32D-0A9C59276F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072" y="414361"/>
            <a:ext cx="2066757" cy="654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75081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EF672-1096-3148-AE57-6A661B75B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621" y="420223"/>
            <a:ext cx="8538211" cy="720725"/>
          </a:xfrm>
        </p:spPr>
        <p:txBody>
          <a:bodyPr anchor="t">
            <a:normAutofit/>
          </a:bodyPr>
          <a:lstStyle>
            <a:lvl1pPr>
              <a:defRPr sz="4000" b="1" i="0">
                <a:solidFill>
                  <a:srgbClr val="41B4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58C48E-C617-8347-B881-41E6A84920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491" y="1416624"/>
            <a:ext cx="1115568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1200"/>
              </a:spcAft>
              <a:buClr>
                <a:srgbClr val="0075A8"/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1B4E6"/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B7CDA-3CA2-974E-9CA4-19A9C553983F}"/>
              </a:ext>
            </a:extLst>
          </p:cNvPr>
          <p:cNvCxnSpPr/>
          <p:nvPr userDrawn="1"/>
        </p:nvCxnSpPr>
        <p:spPr>
          <a:xfrm>
            <a:off x="400058" y="1136940"/>
            <a:ext cx="11304271" cy="0"/>
          </a:xfrm>
          <a:prstGeom prst="line">
            <a:avLst/>
          </a:prstGeom>
          <a:ln>
            <a:solidFill>
              <a:srgbClr val="78BD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CAC3C931-927C-1E45-9EB9-F3C61D14E2ED}"/>
              </a:ext>
            </a:extLst>
          </p:cNvPr>
          <p:cNvSpPr txBox="1"/>
          <p:nvPr userDrawn="1"/>
        </p:nvSpPr>
        <p:spPr>
          <a:xfrm>
            <a:off x="11016869" y="6334712"/>
            <a:ext cx="7381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907F65E-6877-9646-B5AF-2291935C4524}" type="slidenum">
              <a:rPr lang="en-US" sz="14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9EEF8339-C95D-4B41-B4BE-B8CF16D3A1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4164" y="413746"/>
            <a:ext cx="1921664" cy="607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2892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480C05-07F3-5242-A99B-DEC857B2F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37ADFE-126B-1640-B2A5-7CADD3E85C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51731C-28B7-2848-991B-9AF83AEA7B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1B0BF9-74D9-5846-B0FD-B58718ACF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FB9AC1-68A0-D642-92E9-17050D0283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9674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26EB6-ED51-0D4B-88F4-C75584CA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097D78-48BF-EB4C-9238-2411334E94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2936AA-5379-5342-AEE8-639EA4FBE6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10D393-679A-9A4E-B786-203E93E001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A0895E-DEB6-F844-A160-150ABA5FDE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A828332-BA89-E444-9F54-3D827C409D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B2C8AF-306F-EF4F-A9E0-55C46ACF5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532117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AF5E1B8-AC1C-A44F-8EBA-0342BB4B23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4164" y="403189"/>
            <a:ext cx="1921664" cy="628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194201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737575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4B628E-69AF-5F41-B600-AA92A8276E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CB8405-E925-4B46-826A-86DDE3BEC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0966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CB8132-9187-D849-B9B9-1356645D7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67F4B-518D-214A-A879-9289CB1DD2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3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AAD7BC-6E69-7B45-8578-06053A8871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2A5610-2A5E-3E4C-8963-7A447E10D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1FA7F6-A6AE-214D-A13E-731E49F2A4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31703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CE155-EA05-FD40-ABA6-674B67630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6740F8F-BEBF-DE46-B163-3F75C5A7791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3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45CD31-0BB3-3140-A387-488EF3A8B7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5EA9BE-59FA-E447-A719-B66AD74303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D2CD21-5E18-DB4E-B3C9-EC0D530F0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091410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A205D7-E8B8-3040-B2BC-5E34B0B68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1965B6-216F-244D-A443-0B46258DA6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C42C59-6AC9-004C-8867-28E5C9106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783D32-A097-7240-89FC-E0F4A9853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70943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1D03207-AF21-8041-9C7B-9D67D755A0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10DB84-85A6-3B4E-8D76-2B59533323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BAC75B-778E-1949-AE18-2BB57D39B7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48686D-93B0-0E48-8178-1801E25BC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73946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dy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85875" cy="6858000"/>
          </a:xfrm>
          <a:prstGeom prst="rect">
            <a:avLst/>
          </a:prstGeom>
          <a:solidFill>
            <a:srgbClr val="4BAC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alphaModFix amt="1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45" t="7678" r="35495"/>
          <a:stretch/>
        </p:blipFill>
        <p:spPr>
          <a:xfrm>
            <a:off x="1" y="0"/>
            <a:ext cx="1285875" cy="446722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147" y="5932321"/>
            <a:ext cx="2476500" cy="768154"/>
          </a:xfrm>
          <a:prstGeom prst="rect">
            <a:avLst/>
          </a:prstGeom>
        </p:spPr>
      </p:pic>
      <p:sp>
        <p:nvSpPr>
          <p:cNvPr id="10" name="Title 7"/>
          <p:cNvSpPr>
            <a:spLocks noGrp="1"/>
          </p:cNvSpPr>
          <p:nvPr>
            <p:ph type="title" hasCustomPrompt="1"/>
          </p:nvPr>
        </p:nvSpPr>
        <p:spPr>
          <a:xfrm>
            <a:off x="2006600" y="669926"/>
            <a:ext cx="9626600" cy="7143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B6C9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006600" y="1892300"/>
            <a:ext cx="9626600" cy="369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aseline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sz="2200" dirty="0">
                <a:solidFill>
                  <a:schemeClr val="bg1">
                    <a:lumMod val="65000"/>
                  </a:schemeClr>
                </a:solidFill>
                <a:latin typeface="Arial"/>
                <a:ea typeface="Gotham-Book" charset="0"/>
                <a:cs typeface="Arial"/>
              </a:rPr>
              <a:t>Body copy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617015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1E7CAEC-8C03-A24E-9821-D41C3B860D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6158" y="1709752"/>
            <a:ext cx="7987031" cy="2852737"/>
          </a:xfrm>
        </p:spPr>
        <p:txBody>
          <a:bodyPr anchor="b"/>
          <a:lstStyle>
            <a:lvl1pPr>
              <a:defRPr sz="6000">
                <a:solidFill>
                  <a:srgbClr val="41B4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86158" y="4589477"/>
            <a:ext cx="7987031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9C62001-AFA0-C744-A34B-70686E522B2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072" y="414361"/>
            <a:ext cx="2066757" cy="654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883296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86709946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C0EA7A9-CB47-C64B-8C73-EA3FB99495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7BDB8BA-A19B-2F4F-8237-33C8597E88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8288" y="846942"/>
            <a:ext cx="8655424" cy="2387600"/>
          </a:xfrm>
        </p:spPr>
        <p:txBody>
          <a:bodyPr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E458D8-B668-C84E-9DE1-BD4EA7B82C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12576" y="3326617"/>
            <a:ext cx="8166848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006A9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314146A-2315-7B4F-B911-0C361A80C0F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46393" y="6037854"/>
            <a:ext cx="1844019" cy="5840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30567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EF672-1096-3148-AE57-6A661B75B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621" y="420223"/>
            <a:ext cx="8538211" cy="720725"/>
          </a:xfrm>
        </p:spPr>
        <p:txBody>
          <a:bodyPr anchor="t">
            <a:normAutofit/>
          </a:bodyPr>
          <a:lstStyle>
            <a:lvl1pPr>
              <a:defRPr sz="4000" b="1" i="0">
                <a:solidFill>
                  <a:srgbClr val="41B4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58C48E-C617-8347-B881-41E6A84920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491" y="1416624"/>
            <a:ext cx="11155680" cy="435133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1200"/>
              </a:spcAft>
              <a:buClr>
                <a:srgbClr val="0075A8"/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1B4E6"/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B7CDA-3CA2-974E-9CA4-19A9C553983F}"/>
              </a:ext>
            </a:extLst>
          </p:cNvPr>
          <p:cNvCxnSpPr/>
          <p:nvPr userDrawn="1"/>
        </p:nvCxnSpPr>
        <p:spPr>
          <a:xfrm>
            <a:off x="400058" y="1136940"/>
            <a:ext cx="11304271" cy="0"/>
          </a:xfrm>
          <a:prstGeom prst="line">
            <a:avLst/>
          </a:prstGeom>
          <a:ln>
            <a:solidFill>
              <a:srgbClr val="78BD2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Picture 12">
            <a:extLst>
              <a:ext uri="{FF2B5EF4-FFF2-40B4-BE49-F238E27FC236}">
                <a16:creationId xmlns:a16="http://schemas.microsoft.com/office/drawing/2014/main" id="{9EEF8339-C95D-4B41-B4BE-B8CF16D3A10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4164" y="403189"/>
            <a:ext cx="1921664" cy="628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76793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1E7CAEC-8C03-A24E-9821-D41C3B860D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6158" y="1709752"/>
            <a:ext cx="7987031" cy="2852737"/>
          </a:xfrm>
        </p:spPr>
        <p:txBody>
          <a:bodyPr anchor="b"/>
          <a:lstStyle>
            <a:lvl1pPr>
              <a:defRPr sz="6000">
                <a:solidFill>
                  <a:srgbClr val="41B4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86158" y="4589477"/>
            <a:ext cx="7987031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9C62001-AFA0-C744-A34B-70686E522B28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59072" y="403175"/>
            <a:ext cx="2066757" cy="676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68250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1E7CAEC-8C03-A24E-9821-D41C3B860D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6158" y="1709752"/>
            <a:ext cx="7987031" cy="2852737"/>
          </a:xfrm>
        </p:spPr>
        <p:txBody>
          <a:bodyPr anchor="b"/>
          <a:lstStyle>
            <a:lvl1pPr>
              <a:defRPr sz="6000">
                <a:solidFill>
                  <a:srgbClr val="78BD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86158" y="4589477"/>
            <a:ext cx="7987031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41B4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B2AD5A-212B-964C-8319-578F6EE427BF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59072" y="403175"/>
            <a:ext cx="2066757" cy="676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4254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1E7CAEC-8C03-A24E-9821-D41C3B860D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6158" y="1709752"/>
            <a:ext cx="7987031" cy="2852737"/>
          </a:xfrm>
        </p:spPr>
        <p:txBody>
          <a:bodyPr anchor="b"/>
          <a:lstStyle>
            <a:lvl1pPr>
              <a:defRPr sz="600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86158" y="4589477"/>
            <a:ext cx="7987031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78BD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5A42C0E-3BD0-944A-A32D-0A9C59276F3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759072" y="403175"/>
            <a:ext cx="2066757" cy="6764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2548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480C05-07F3-5242-A99B-DEC857B2F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37ADFE-126B-1640-B2A5-7CADD3E85C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51731C-28B7-2848-991B-9AF83AEA7B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1B0BF9-74D9-5846-B0FD-B58718ACF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FB9AC1-68A0-D642-92E9-17050D0283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55639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26EB6-ED51-0D4B-88F4-C75584CA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097D78-48BF-EB4C-9238-2411334E94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2936AA-5379-5342-AEE8-639EA4FBE6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10D393-679A-9A4E-B786-203E93E001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A0895E-DEB6-F844-A160-150ABA5FDE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A828332-BA89-E444-9F54-3D827C409D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B2C8AF-306F-EF4F-A9E0-55C46ACF5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033065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AF5E1B8-AC1C-A44F-8EBA-0342BB4B23C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904164" y="403189"/>
            <a:ext cx="1921664" cy="6289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78355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729549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1E7CAEC-8C03-A24E-9821-D41C3B860D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6158" y="1709752"/>
            <a:ext cx="7987031" cy="2852737"/>
          </a:xfrm>
        </p:spPr>
        <p:txBody>
          <a:bodyPr anchor="b"/>
          <a:lstStyle>
            <a:lvl1pPr>
              <a:defRPr sz="6000">
                <a:solidFill>
                  <a:srgbClr val="78BD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86158" y="4589477"/>
            <a:ext cx="7987031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41B4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BB2AD5A-212B-964C-8319-578F6EE427B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072" y="414361"/>
            <a:ext cx="2066757" cy="654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287473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4B628E-69AF-5F41-B600-AA92A8276E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2CB8405-E925-4B46-826A-86DDE3BEC0A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81281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CB8132-9187-D849-B9B9-1356645D7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67F4B-518D-214A-A879-9289CB1DD2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39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AAD7BC-6E69-7B45-8578-06053A8871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2A5610-2A5E-3E4C-8963-7A447E10D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1FA7F6-A6AE-214D-A13E-731E49F2A4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09286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CE155-EA05-FD40-ABA6-674B67630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6740F8F-BEBF-DE46-B163-3F75C5A7791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39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45CD31-0BB3-3140-A387-488EF3A8B7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5EA9BE-59FA-E447-A719-B66AD74303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D2CD21-5E18-DB4E-B3C9-EC0D530F0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03197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6A205D7-E8B8-3040-B2BC-5E34B0B686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1965B6-216F-244D-A443-0B46258DA6D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1C42C59-6AC9-004C-8867-28E5C9106AA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6783D32-A097-7240-89FC-E0F4A98535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953617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1D03207-AF21-8041-9C7B-9D67D755A05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2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F10DB84-85A6-3B4E-8D76-2B595333235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3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CBAC75B-778E-1949-AE18-2BB57D39B7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D48686D-93B0-0E48-8178-1801E25BC8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971551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ody V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1" y="0"/>
            <a:ext cx="1285875" cy="6858000"/>
          </a:xfrm>
          <a:prstGeom prst="rect">
            <a:avLst/>
          </a:prstGeom>
          <a:solidFill>
            <a:srgbClr val="4BACD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2">
            <a:alphaModFix amt="1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745" t="7678" r="35495"/>
          <a:stretch/>
        </p:blipFill>
        <p:spPr>
          <a:xfrm>
            <a:off x="1" y="0"/>
            <a:ext cx="1285875" cy="4467226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50147" y="5932321"/>
            <a:ext cx="2476500" cy="768154"/>
          </a:xfrm>
          <a:prstGeom prst="rect">
            <a:avLst/>
          </a:prstGeom>
        </p:spPr>
      </p:pic>
      <p:sp>
        <p:nvSpPr>
          <p:cNvPr id="10" name="Title 7"/>
          <p:cNvSpPr>
            <a:spLocks noGrp="1"/>
          </p:cNvSpPr>
          <p:nvPr>
            <p:ph type="title" hasCustomPrompt="1"/>
          </p:nvPr>
        </p:nvSpPr>
        <p:spPr>
          <a:xfrm>
            <a:off x="2006600" y="669926"/>
            <a:ext cx="9626600" cy="71437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1B6C96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 dirty="0"/>
              <a:t>Title Goes Her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006600" y="1892300"/>
            <a:ext cx="9626600" cy="3695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 baseline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sz="2200" dirty="0">
                <a:solidFill>
                  <a:schemeClr val="bg1">
                    <a:lumMod val="65000"/>
                  </a:schemeClr>
                </a:solidFill>
                <a:latin typeface="Arial"/>
                <a:ea typeface="Gotham-Book" charset="0"/>
                <a:cs typeface="Arial"/>
              </a:rPr>
              <a:t>Body copy…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77474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0986017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C0EA7A9-CB47-C64B-8C73-EA3FB99495B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  <a:ln>
            <a:solidFill>
              <a:srgbClr val="36B4E5"/>
            </a:solidFill>
          </a:ln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7BDB8BA-A19B-2F4F-8237-33C8597E885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68288" y="2626519"/>
            <a:ext cx="8655424" cy="1604963"/>
          </a:xfrm>
        </p:spPr>
        <p:txBody>
          <a:bodyPr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98E458D8-B668-C84E-9DE1-BD4EA7B82C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012576" y="4343400"/>
            <a:ext cx="8166848" cy="1524000"/>
          </a:xfrm>
        </p:spPr>
        <p:txBody>
          <a:bodyPr/>
          <a:lstStyle>
            <a:lvl1pPr marL="0" indent="0" algn="ctr">
              <a:buNone/>
              <a:defRPr sz="2400" i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3101896-91B8-4A96-95C0-A9B3C37C0A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7250" y="5846233"/>
            <a:ext cx="2357750" cy="63287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378EC6E-6117-42FE-E21E-6E0312CF753F}"/>
              </a:ext>
            </a:extLst>
          </p:cNvPr>
          <p:cNvSpPr/>
          <p:nvPr userDrawn="1"/>
        </p:nvSpPr>
        <p:spPr>
          <a:xfrm>
            <a:off x="9797143" y="6270171"/>
            <a:ext cx="2010228" cy="246743"/>
          </a:xfrm>
          <a:prstGeom prst="rect">
            <a:avLst/>
          </a:prstGeom>
          <a:solidFill>
            <a:srgbClr val="36B4E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126977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0EDEC4B-876A-0847-8451-2FECB60B32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9077" y="646765"/>
            <a:ext cx="7589520" cy="2852737"/>
          </a:xfrm>
        </p:spPr>
        <p:txBody>
          <a:bodyPr anchor="b">
            <a:normAutofit/>
          </a:bodyPr>
          <a:lstStyle>
            <a:lvl1pPr>
              <a:defRPr sz="4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29077" y="3526503"/>
            <a:ext cx="7589520" cy="1500187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5922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171845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75776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34368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292960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351552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101452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468737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7" name="Picture 2" descr="Lee Health | Lee Health">
            <a:extLst>
              <a:ext uri="{FF2B5EF4-FFF2-40B4-BE49-F238E27FC236}">
                <a16:creationId xmlns:a16="http://schemas.microsoft.com/office/drawing/2014/main" id="{253E4E5C-4063-4E20-B2E3-90B96A8AD9B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8284" y="6094370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394604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435EB51-6A80-48D2-ACE3-92C84F5A10C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435EB51-6A80-48D2-ACE3-92C84F5A10C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80EDEC4B-876A-0847-8451-2FECB60B32A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3" y="0"/>
            <a:ext cx="12192000" cy="6858000"/>
          </a:xfrm>
          <a:prstGeom prst="rect">
            <a:avLst/>
          </a:prstGeom>
        </p:spPr>
      </p:pic>
      <p:pic>
        <p:nvPicPr>
          <p:cNvPr id="1026" name="Picture 2" descr="Lee Health | Lee Health">
            <a:extLst>
              <a:ext uri="{FF2B5EF4-FFF2-40B4-BE49-F238E27FC236}">
                <a16:creationId xmlns:a16="http://schemas.microsoft.com/office/drawing/2014/main" id="{5E0A9164-DFE1-49E8-BBB7-BFFD3C0CDCF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8284" y="6094370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9077" y="646765"/>
            <a:ext cx="7589520" cy="2852737"/>
          </a:xfrm>
        </p:spPr>
        <p:txBody>
          <a:bodyPr vert="horz" anchor="b">
            <a:norm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29077" y="3526503"/>
            <a:ext cx="7589520" cy="1500187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5922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171845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75776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34368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292960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351552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101452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468737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171011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1E7CAEC-8C03-A24E-9821-D41C3B860D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6158" y="1709752"/>
            <a:ext cx="7987031" cy="2852737"/>
          </a:xfrm>
        </p:spPr>
        <p:txBody>
          <a:bodyPr anchor="b"/>
          <a:lstStyle>
            <a:lvl1pPr>
              <a:defRPr sz="600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86158" y="4589477"/>
            <a:ext cx="7987031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78BD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5A42C0E-3BD0-944A-A32D-0A9C59276F3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9072" y="414361"/>
            <a:ext cx="2066757" cy="654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25441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2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0EDEC4B-876A-0847-8451-2FECB60B32A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29077" y="646765"/>
            <a:ext cx="7589520" cy="2852737"/>
          </a:xfrm>
        </p:spPr>
        <p:txBody>
          <a:bodyPr anchor="b">
            <a:normAutofit/>
          </a:bodyPr>
          <a:lstStyle>
            <a:lvl1pPr>
              <a:defRPr sz="4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829077" y="3526503"/>
            <a:ext cx="7589520" cy="1500187"/>
          </a:xfrm>
        </p:spPr>
        <p:txBody>
          <a:bodyPr>
            <a:normAutofit/>
          </a:bodyPr>
          <a:lstStyle>
            <a:lvl1pPr marL="0" indent="0">
              <a:buNone/>
              <a:defRPr sz="2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85922" indent="0">
              <a:buNone/>
              <a:defRPr sz="2600">
                <a:solidFill>
                  <a:schemeClr val="tx1">
                    <a:tint val="75000"/>
                  </a:schemeClr>
                </a:solidFill>
              </a:defRPr>
            </a:lvl2pPr>
            <a:lvl3pPr marL="1171845" indent="0">
              <a:buNone/>
              <a:defRPr sz="2300">
                <a:solidFill>
                  <a:schemeClr val="tx1">
                    <a:tint val="75000"/>
                  </a:schemeClr>
                </a:solidFill>
              </a:defRPr>
            </a:lvl3pPr>
            <a:lvl4pPr marL="1757764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4pPr>
            <a:lvl5pPr marL="234368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5pPr>
            <a:lvl6pPr marL="2929608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6pPr>
            <a:lvl7pPr marL="3515529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7pPr>
            <a:lvl8pPr marL="4101452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8pPr>
            <a:lvl9pPr marL="4687376" indent="0"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6" name="Picture 2" descr="Lee Health | Lee Health">
            <a:extLst>
              <a:ext uri="{FF2B5EF4-FFF2-40B4-BE49-F238E27FC236}">
                <a16:creationId xmlns:a16="http://schemas.microsoft.com/office/drawing/2014/main" id="{47EB0FC3-A2F2-46B5-9500-AED7FC7ED7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8284" y="6094370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490687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1E7CAEC-8C03-A24E-9821-D41C3B860D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6158" y="1709752"/>
            <a:ext cx="7987031" cy="2852737"/>
          </a:xfrm>
        </p:spPr>
        <p:txBody>
          <a:bodyPr anchor="b"/>
          <a:lstStyle>
            <a:lvl1pPr>
              <a:defRPr sz="6000">
                <a:solidFill>
                  <a:srgbClr val="41B4E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86158" y="4589477"/>
            <a:ext cx="7987031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C3C931-927C-1E45-9EB9-F3C61D14E2ED}"/>
              </a:ext>
            </a:extLst>
          </p:cNvPr>
          <p:cNvSpPr txBox="1"/>
          <p:nvPr userDrawn="1"/>
        </p:nvSpPr>
        <p:spPr>
          <a:xfrm>
            <a:off x="11016869" y="6334712"/>
            <a:ext cx="7381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907F65E-6877-9646-B5AF-2291935C4524}" type="slidenum">
              <a:rPr lang="en-US" sz="14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 descr="Lee Health | Lee Health">
            <a:extLst>
              <a:ext uri="{FF2B5EF4-FFF2-40B4-BE49-F238E27FC236}">
                <a16:creationId xmlns:a16="http://schemas.microsoft.com/office/drawing/2014/main" id="{95F6067B-DC5D-4F48-8408-7F8DDD59383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0241" y="289305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413751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4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1E7CAEC-8C03-A24E-9821-D41C3B860D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6158" y="1709752"/>
            <a:ext cx="7987031" cy="2852737"/>
          </a:xfrm>
        </p:spPr>
        <p:txBody>
          <a:bodyPr anchor="b"/>
          <a:lstStyle>
            <a:lvl1pPr>
              <a:defRPr sz="6000">
                <a:solidFill>
                  <a:srgbClr val="36B4E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86158" y="4589477"/>
            <a:ext cx="7987031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007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C3C931-927C-1E45-9EB9-F3C61D14E2ED}"/>
              </a:ext>
            </a:extLst>
          </p:cNvPr>
          <p:cNvSpPr txBox="1"/>
          <p:nvPr userDrawn="1"/>
        </p:nvSpPr>
        <p:spPr>
          <a:xfrm>
            <a:off x="11016869" y="6334712"/>
            <a:ext cx="7381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907F65E-6877-9646-B5AF-2291935C4524}" type="slidenum">
              <a:rPr lang="en-US" sz="14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 descr="Lee Health | Lee Health">
            <a:extLst>
              <a:ext uri="{FF2B5EF4-FFF2-40B4-BE49-F238E27FC236}">
                <a16:creationId xmlns:a16="http://schemas.microsoft.com/office/drawing/2014/main" id="{700BBA29-3B93-4E0D-B831-34394BA23B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0241" y="289305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36430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5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E1E7CAEC-8C03-A24E-9821-D41C3B860D5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3048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2E1AC98-950A-FF46-B1F7-79B3A1DD5C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6158" y="1709752"/>
            <a:ext cx="7987031" cy="2852737"/>
          </a:xfrm>
        </p:spPr>
        <p:txBody>
          <a:bodyPr anchor="b"/>
          <a:lstStyle>
            <a:lvl1pPr>
              <a:defRPr sz="6000">
                <a:solidFill>
                  <a:srgbClr val="36B4E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27A2CF-D119-FF49-8311-C4C32E32CF6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3486158" y="4589477"/>
            <a:ext cx="7987031" cy="1500187"/>
          </a:xfrm>
        </p:spPr>
        <p:txBody>
          <a:bodyPr/>
          <a:lstStyle>
            <a:lvl1pPr marL="0" indent="0">
              <a:buNone/>
              <a:defRPr sz="2400">
                <a:solidFill>
                  <a:srgbClr val="007AA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C3C931-927C-1E45-9EB9-F3C61D14E2ED}"/>
              </a:ext>
            </a:extLst>
          </p:cNvPr>
          <p:cNvSpPr txBox="1"/>
          <p:nvPr userDrawn="1"/>
        </p:nvSpPr>
        <p:spPr>
          <a:xfrm>
            <a:off x="11016869" y="6334712"/>
            <a:ext cx="7381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907F65E-6877-9646-B5AF-2291935C4524}" type="slidenum">
              <a:rPr lang="en-US" sz="14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2" descr="Lee Health | Lee Health">
            <a:extLst>
              <a:ext uri="{FF2B5EF4-FFF2-40B4-BE49-F238E27FC236}">
                <a16:creationId xmlns:a16="http://schemas.microsoft.com/office/drawing/2014/main" id="{33600311-4604-493D-A3EA-A27169B0A5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0241" y="289305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714193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EF672-1096-3148-AE57-6A661B75B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636" y="365151"/>
            <a:ext cx="11310321" cy="720725"/>
          </a:xfrm>
        </p:spPr>
        <p:txBody>
          <a:bodyPr anchor="ctr">
            <a:normAutofit/>
          </a:bodyPr>
          <a:lstStyle>
            <a:lvl1pPr>
              <a:defRPr sz="4000" b="1" i="0">
                <a:solidFill>
                  <a:srgbClr val="22C0F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AC3C931-927C-1E45-9EB9-F3C61D14E2ED}"/>
              </a:ext>
            </a:extLst>
          </p:cNvPr>
          <p:cNvSpPr txBox="1"/>
          <p:nvPr userDrawn="1"/>
        </p:nvSpPr>
        <p:spPr>
          <a:xfrm>
            <a:off x="11016869" y="6334712"/>
            <a:ext cx="7381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907F65E-6877-9646-B5AF-2291935C4524}" type="slidenum">
              <a:rPr lang="en-US" sz="14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Content Placeholder 2"/>
          <p:cNvPicPr>
            <a:picLocks noChangeAspect="1"/>
          </p:cNvPicPr>
          <p:nvPr userDrawn="1"/>
        </p:nvPicPr>
        <p:blipFill rotWithShape="1">
          <a:blip r:embed="rId2" cstate="print">
            <a:alphaModFix amt="26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7797"/>
          <a:stretch/>
        </p:blipFill>
        <p:spPr>
          <a:xfrm>
            <a:off x="400079" y="1280160"/>
            <a:ext cx="3567210" cy="5270079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400079" y="1280160"/>
            <a:ext cx="3567210" cy="5362329"/>
          </a:xfrm>
          <a:prstGeom prst="rect">
            <a:avLst/>
          </a:prstGeom>
          <a:solidFill>
            <a:srgbClr val="FFFFFF">
              <a:alpha val="7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B7CDA-3CA2-974E-9CA4-19A9C553983F}"/>
              </a:ext>
            </a:extLst>
          </p:cNvPr>
          <p:cNvCxnSpPr/>
          <p:nvPr userDrawn="1"/>
        </p:nvCxnSpPr>
        <p:spPr>
          <a:xfrm>
            <a:off x="400079" y="1280160"/>
            <a:ext cx="11304271" cy="0"/>
          </a:xfrm>
          <a:prstGeom prst="line">
            <a:avLst/>
          </a:prstGeom>
          <a:ln w="19050">
            <a:solidFill>
              <a:srgbClr val="006A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58C48E-C617-8347-B881-41E6A84920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492" y="1482759"/>
            <a:ext cx="11225381" cy="34388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1538"/>
              </a:spcAft>
              <a:buClr>
                <a:srgbClr val="0075A8"/>
              </a:buClr>
              <a:defRPr sz="31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769"/>
              </a:spcAft>
              <a:buClr>
                <a:srgbClr val="41B4E6"/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769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769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769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2" descr="Lee Health | Lee Health">
            <a:extLst>
              <a:ext uri="{FF2B5EF4-FFF2-40B4-BE49-F238E27FC236}">
                <a16:creationId xmlns:a16="http://schemas.microsoft.com/office/drawing/2014/main" id="{58C6D127-6C42-4D9C-812C-839FC717B03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90241" y="482814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0459022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13" y="-12700"/>
            <a:ext cx="12192000" cy="6870700"/>
          </a:xfrm>
          <a:prstGeom prst="rect">
            <a:avLst/>
          </a:prstGeom>
          <a:solidFill>
            <a:srgbClr val="007AAA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17183" tIns="58591" rIns="117183" bIns="58591" rtlCol="0" anchor="ctr"/>
          <a:lstStyle/>
          <a:p>
            <a:pPr algn="ctr" defTabSz="1171845"/>
            <a:endParaRPr lang="en-US" sz="2300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2954339"/>
            <a:ext cx="12192000" cy="949323"/>
          </a:xfrm>
          <a:prstGeom prst="rect">
            <a:avLst/>
          </a:prstGeom>
          <a:noFill/>
        </p:spPr>
        <p:txBody>
          <a:bodyPr wrap="square" lIns="117183" tIns="58591" rIns="117183" bIns="58591" rtlCol="0">
            <a:spAutoFit/>
          </a:bodyPr>
          <a:lstStyle/>
          <a:p>
            <a:pPr algn="ctr" defTabSz="1171845"/>
            <a:r>
              <a:rPr lang="en-US" sz="5400" b="0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Appendix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0" t="7021" b="21821"/>
          <a:stretch/>
        </p:blipFill>
        <p:spPr>
          <a:xfrm>
            <a:off x="13" y="0"/>
            <a:ext cx="5032619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3671BC-2EE7-48EE-8932-4C9AE0D6C2B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7250" y="5846233"/>
            <a:ext cx="2357750" cy="63287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0F94811B-3189-0DF3-6F4D-964AF072AA64}"/>
              </a:ext>
            </a:extLst>
          </p:cNvPr>
          <p:cNvSpPr/>
          <p:nvPr userDrawn="1"/>
        </p:nvSpPr>
        <p:spPr>
          <a:xfrm>
            <a:off x="9773392" y="6270171"/>
            <a:ext cx="2066307" cy="208932"/>
          </a:xfrm>
          <a:prstGeom prst="rect">
            <a:avLst/>
          </a:prstGeom>
          <a:solidFill>
            <a:srgbClr val="007A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51599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EF672-1096-3148-AE57-6A661B75B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659" y="365144"/>
            <a:ext cx="11310321" cy="720725"/>
          </a:xfrm>
        </p:spPr>
        <p:txBody>
          <a:bodyPr anchor="t">
            <a:noAutofit/>
          </a:bodyPr>
          <a:lstStyle>
            <a:lvl1pPr>
              <a:defRPr sz="5000" b="1" i="0">
                <a:solidFill>
                  <a:srgbClr val="78BD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58C48E-C617-8347-B881-41E6A84920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492" y="1482771"/>
            <a:ext cx="11225381" cy="4371928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1200"/>
              </a:spcAft>
              <a:buClr>
                <a:srgbClr val="0075A8"/>
              </a:buCl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1B4E6"/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B7CDA-3CA2-974E-9CA4-19A9C553983F}"/>
              </a:ext>
            </a:extLst>
          </p:cNvPr>
          <p:cNvCxnSpPr/>
          <p:nvPr userDrawn="1"/>
        </p:nvCxnSpPr>
        <p:spPr>
          <a:xfrm>
            <a:off x="400092" y="1280160"/>
            <a:ext cx="11304271" cy="0"/>
          </a:xfrm>
          <a:prstGeom prst="line">
            <a:avLst/>
          </a:prstGeom>
          <a:ln w="19050">
            <a:solidFill>
              <a:srgbClr val="006A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 descr="Lee Health | Lee Health">
            <a:extLst>
              <a:ext uri="{FF2B5EF4-FFF2-40B4-BE49-F238E27FC236}">
                <a16:creationId xmlns:a16="http://schemas.microsoft.com/office/drawing/2014/main" id="{EFF01ED1-AAA9-4C8D-B139-640ECF6BA74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8284" y="6094370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1564216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8DAF9BA8-F50A-455E-9381-819EFD7DEA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8DAF9BA8-F50A-455E-9381-819EFD7DEA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7480C05-07F3-5242-A99B-DEC857B2F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>
            <a:lvl1pPr algn="l" defTabSz="117184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000" b="1" i="0" kern="1200" dirty="0">
                <a:solidFill>
                  <a:srgbClr val="78BD2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37ADFE-126B-1640-B2A5-7CADD3E85C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4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51731C-28B7-2848-991B-9AF83AEA7B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1B0BF9-74D9-5846-B0FD-B58718ACF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FB9AC1-68A0-D642-92E9-17050D0283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F8830D-3D29-C44B-8CB0-F7DA282B56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291273" y="6356391"/>
            <a:ext cx="756424" cy="365125"/>
          </a:xfrm>
        </p:spPr>
        <p:txBody>
          <a:bodyPr/>
          <a:lstStyle/>
          <a:p>
            <a:fld id="{424CC38B-C17A-0E45-93B9-F89AA57AFC5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2" descr="Lee Health | Lee Health">
            <a:extLst>
              <a:ext uri="{FF2B5EF4-FFF2-40B4-BE49-F238E27FC236}">
                <a16:creationId xmlns:a16="http://schemas.microsoft.com/office/drawing/2014/main" id="{D6E388CC-F7AD-4B2D-B475-773FAE9ABB9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8284" y="6094370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9145868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D467170F-0B27-468D-9B1D-133A4F5C47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6" imgH="403" progId="TCLayout.ActiveDocument.1">
                  <p:embed/>
                </p:oleObj>
              </mc:Choice>
              <mc:Fallback>
                <p:oleObj name="think-cell Slide" r:id="rId3" imgW="406" imgH="40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D467170F-0B27-468D-9B1D-133A4F5C47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1F26EB6-ED51-0D4B-88F4-C75584CA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 vert="horz">
            <a:normAutofit/>
          </a:bodyPr>
          <a:lstStyle>
            <a:lvl1pPr algn="l" defTabSz="117184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000" b="1" i="0" kern="1200">
                <a:solidFill>
                  <a:srgbClr val="78BD2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097D78-48BF-EB4C-9238-2411334E94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90" y="1681163"/>
            <a:ext cx="515778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58" indent="0">
              <a:buNone/>
              <a:defRPr sz="2100" b="1"/>
            </a:lvl2pPr>
            <a:lvl3pPr marL="913309" indent="0">
              <a:buNone/>
              <a:defRPr sz="1800" b="1"/>
            </a:lvl3pPr>
            <a:lvl4pPr marL="1369966" indent="0">
              <a:buNone/>
              <a:defRPr sz="1500" b="1"/>
            </a:lvl4pPr>
            <a:lvl5pPr marL="1826615" indent="0">
              <a:buNone/>
              <a:defRPr sz="1500" b="1"/>
            </a:lvl5pPr>
            <a:lvl6pPr marL="2283275" indent="0">
              <a:buNone/>
              <a:defRPr sz="1500" b="1"/>
            </a:lvl6pPr>
            <a:lvl7pPr marL="2739933" indent="0">
              <a:buNone/>
              <a:defRPr sz="1500" b="1"/>
            </a:lvl7pPr>
            <a:lvl8pPr marL="3196571" indent="0">
              <a:buNone/>
              <a:defRPr sz="1500" b="1"/>
            </a:lvl8pPr>
            <a:lvl9pPr marL="3653230" indent="0">
              <a:buNone/>
              <a:defRPr sz="15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2936AA-5379-5342-AEE8-639EA4FBE6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90" y="2505076"/>
            <a:ext cx="515778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10D393-679A-9A4E-B786-203E93E001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58" indent="0">
              <a:buNone/>
              <a:defRPr sz="2100" b="1"/>
            </a:lvl2pPr>
            <a:lvl3pPr marL="913309" indent="0">
              <a:buNone/>
              <a:defRPr sz="1800" b="1"/>
            </a:lvl3pPr>
            <a:lvl4pPr marL="1369966" indent="0">
              <a:buNone/>
              <a:defRPr sz="1500" b="1"/>
            </a:lvl4pPr>
            <a:lvl5pPr marL="1826615" indent="0">
              <a:buNone/>
              <a:defRPr sz="1500" b="1"/>
            </a:lvl5pPr>
            <a:lvl6pPr marL="2283275" indent="0">
              <a:buNone/>
              <a:defRPr sz="1500" b="1"/>
            </a:lvl6pPr>
            <a:lvl7pPr marL="2739933" indent="0">
              <a:buNone/>
              <a:defRPr sz="1500" b="1"/>
            </a:lvl7pPr>
            <a:lvl8pPr marL="3196571" indent="0">
              <a:buNone/>
              <a:defRPr sz="1500" b="1"/>
            </a:lvl8pPr>
            <a:lvl9pPr marL="3653230" indent="0">
              <a:buNone/>
              <a:defRPr sz="15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A0895E-DEB6-F844-A160-150ABA5FDE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6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A828332-BA89-E444-9F54-3D827C409D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B2C8AF-306F-EF4F-A9E0-55C46ACF5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DC3673-A0B7-C44C-BEE4-724C3ABAB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17894" y="6358037"/>
            <a:ext cx="2743200" cy="365125"/>
          </a:xfrm>
        </p:spPr>
        <p:txBody>
          <a:bodyPr/>
          <a:lstStyle/>
          <a:p>
            <a:fld id="{424CC38B-C17A-0E45-93B9-F89AA57AFC5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3" name="Picture 2" descr="Lee Health | Lee Health">
            <a:extLst>
              <a:ext uri="{FF2B5EF4-FFF2-40B4-BE49-F238E27FC236}">
                <a16:creationId xmlns:a16="http://schemas.microsoft.com/office/drawing/2014/main" id="{8682B40A-A854-4B23-AFFE-CFA9E791125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8284" y="6094370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7888922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EF672-1096-3148-AE57-6A661B75B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625" y="365133"/>
            <a:ext cx="11310321" cy="720725"/>
          </a:xfrm>
        </p:spPr>
        <p:txBody>
          <a:bodyPr anchor="t"/>
          <a:lstStyle>
            <a:lvl1pPr>
              <a:defRPr b="1" i="0">
                <a:solidFill>
                  <a:srgbClr val="78BD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58C48E-C617-8347-B881-41E6A84920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1492" y="1482733"/>
            <a:ext cx="11225381" cy="343889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1200"/>
              </a:spcAft>
              <a:buClr>
                <a:srgbClr val="0075A8"/>
              </a:buCl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1B4E6"/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B7CDA-3CA2-974E-9CA4-19A9C553983F}"/>
              </a:ext>
            </a:extLst>
          </p:cNvPr>
          <p:cNvCxnSpPr/>
          <p:nvPr userDrawn="1"/>
        </p:nvCxnSpPr>
        <p:spPr>
          <a:xfrm>
            <a:off x="400054" y="1280160"/>
            <a:ext cx="11304271" cy="0"/>
          </a:xfrm>
          <a:prstGeom prst="line">
            <a:avLst/>
          </a:prstGeom>
          <a:ln w="19050">
            <a:solidFill>
              <a:srgbClr val="006A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2" descr="Lee Health | Lee Health">
            <a:extLst>
              <a:ext uri="{FF2B5EF4-FFF2-40B4-BE49-F238E27FC236}">
                <a16:creationId xmlns:a16="http://schemas.microsoft.com/office/drawing/2014/main" id="{F29AFC13-913E-4F12-85C6-49BDB92E519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8284" y="6094370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10387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480C05-07F3-5242-A99B-DEC857B2F15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637ADFE-126B-1640-B2A5-7CADD3E85C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F51731C-28B7-2848-991B-9AF83AEA7B9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11B0BF9-74D9-5846-B0FD-B58718ACF1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7FB9AC1-68A0-D642-92E9-17050D02833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F8830D-3D29-C44B-8CB0-F7DA282B56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4CC38B-C17A-0E45-93B9-F89AA57AFC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484806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2EF672-1096-3148-AE57-6A661B75B5D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8625" y="365133"/>
            <a:ext cx="11310321" cy="720725"/>
          </a:xfrm>
        </p:spPr>
        <p:txBody>
          <a:bodyPr anchor="t"/>
          <a:lstStyle>
            <a:lvl1pPr>
              <a:defRPr b="1" i="0">
                <a:solidFill>
                  <a:srgbClr val="78BD2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458C48E-C617-8347-B881-41E6A849201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1492" y="1482733"/>
            <a:ext cx="11225381" cy="481646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Aft>
                <a:spcPts val="1200"/>
              </a:spcAft>
              <a:buClr>
                <a:srgbClr val="0075A8"/>
              </a:buClr>
              <a:defRPr sz="2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41B4E6"/>
              </a:buClr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defRPr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/>
              <a:t>Why? </a:t>
            </a:r>
          </a:p>
          <a:p>
            <a:pPr lvl="1"/>
            <a:r>
              <a:rPr lang="en-US" dirty="0"/>
              <a:t>Looking to use a top-tier MBA program to round out my business knowledge in order to be prepared for executive leadership. </a:t>
            </a:r>
          </a:p>
          <a:p>
            <a:pPr lvl="1"/>
            <a:endParaRPr lang="en-US" dirty="0"/>
          </a:p>
          <a:p>
            <a:r>
              <a:rPr lang="en-US" dirty="0"/>
              <a:t>Programs: </a:t>
            </a:r>
          </a:p>
          <a:p>
            <a:pPr lvl="1"/>
            <a:r>
              <a:rPr lang="en-US" dirty="0">
                <a:hlinkClick r:id="rId2"/>
              </a:rPr>
              <a:t>Northwestern Executive MBA</a:t>
            </a:r>
            <a:endParaRPr lang="en-US" dirty="0"/>
          </a:p>
          <a:p>
            <a:pPr lvl="1"/>
            <a:r>
              <a:rPr lang="en-US" dirty="0">
                <a:hlinkClick r:id="rId3"/>
              </a:rPr>
              <a:t>Duke Executive MBA Program</a:t>
            </a:r>
            <a:endParaRPr lang="en-US" dirty="0"/>
          </a:p>
          <a:p>
            <a:pPr lvl="1"/>
            <a:r>
              <a:rPr lang="en-US" dirty="0">
                <a:hlinkClick r:id="rId4"/>
              </a:rPr>
              <a:t>Michigan Executive MBA Program</a:t>
            </a:r>
            <a:endParaRPr lang="en-US" dirty="0"/>
          </a:p>
          <a:p>
            <a:pPr lvl="1"/>
            <a:r>
              <a:rPr lang="en-US" dirty="0">
                <a:hlinkClick r:id="rId5"/>
              </a:rPr>
              <a:t>Penn Executive MBA Program</a:t>
            </a:r>
            <a:endParaRPr lang="en-US" dirty="0"/>
          </a:p>
          <a:p>
            <a:pPr lvl="0"/>
            <a:endParaRPr lang="en-US" dirty="0"/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0EB7CDA-3CA2-974E-9CA4-19A9C553983F}"/>
              </a:ext>
            </a:extLst>
          </p:cNvPr>
          <p:cNvCxnSpPr/>
          <p:nvPr userDrawn="1"/>
        </p:nvCxnSpPr>
        <p:spPr>
          <a:xfrm>
            <a:off x="400054" y="1280160"/>
            <a:ext cx="11304271" cy="0"/>
          </a:xfrm>
          <a:prstGeom prst="line">
            <a:avLst/>
          </a:prstGeom>
          <a:ln w="19050">
            <a:solidFill>
              <a:srgbClr val="006A9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2" descr="Lee Health | Lee Health">
            <a:extLst>
              <a:ext uri="{FF2B5EF4-FFF2-40B4-BE49-F238E27FC236}">
                <a16:creationId xmlns:a16="http://schemas.microsoft.com/office/drawing/2014/main" id="{48735078-E535-419C-96CE-4C6A7EF74F0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8284" y="6094370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4488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26EB6-ED51-0D4B-88F4-C75584CA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097D78-48BF-EB4C-9238-2411334E94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2936AA-5379-5342-AEE8-639EA4FBE6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10D393-679A-9A4E-B786-203E93E001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A0895E-DEB6-F844-A160-150ABA5FDE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A828332-BA89-E444-9F54-3D827C409D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B2C8AF-306F-EF4F-A9E0-55C46ACF5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DC3673-A0B7-C44C-BEE4-724C3ABAB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57228" y="6356390"/>
            <a:ext cx="2745059" cy="365125"/>
          </a:xfrm>
        </p:spPr>
        <p:txBody>
          <a:bodyPr/>
          <a:lstStyle/>
          <a:p>
            <a:fld id="{424CC38B-C17A-0E45-93B9-F89AA57AFC5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2" name="Picture 2" descr="Lee Health | Lee Health">
            <a:extLst>
              <a:ext uri="{FF2B5EF4-FFF2-40B4-BE49-F238E27FC236}">
                <a16:creationId xmlns:a16="http://schemas.microsoft.com/office/drawing/2014/main" id="{D1014736-929D-470F-A645-CCCC4763E86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8284" y="6094370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3511192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1_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CB8132-9187-D849-B9B9-1356645D75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9867F4B-518D-214A-A879-9289CB1DD2F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33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BAAD7BC-6E69-7B45-8578-06053A8871D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C2A5610-2A5E-3E4C-8963-7A447E10D4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B1FA7F6-A6AE-214D-A13E-731E49F2A4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EF3A4E-FB8E-874A-84E7-BCEB980819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4CC38B-C17A-0E45-93B9-F89AA57AFC5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2" descr="Lee Health | Lee Health">
            <a:extLst>
              <a:ext uri="{FF2B5EF4-FFF2-40B4-BE49-F238E27FC236}">
                <a16:creationId xmlns:a16="http://schemas.microsoft.com/office/drawing/2014/main" id="{9F7033AB-9F7A-4DDA-A8A5-9182CFD5C316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8284" y="6094370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915701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BCE155-EA05-FD40-ABA6-674B676304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6740F8F-BEBF-DE46-B163-3F75C5A7791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33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F45CD31-0BB3-3140-A387-488EF3A8B77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35EA9BE-59FA-E447-A719-B66AD74303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D2CD21-5E18-DB4E-B3C9-EC0D530F07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C5CD079-B4D5-1F4E-81D0-315931224E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4CC38B-C17A-0E45-93B9-F89AA57AFC5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0" name="Picture 2" descr="Lee Health | Lee Health">
            <a:extLst>
              <a:ext uri="{FF2B5EF4-FFF2-40B4-BE49-F238E27FC236}">
                <a16:creationId xmlns:a16="http://schemas.microsoft.com/office/drawing/2014/main" id="{2D17F4E2-A28F-4BC9-9F19-D68E7ECCC8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688284" y="6094370"/>
            <a:ext cx="1682948" cy="534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074561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12700"/>
            <a:ext cx="12192000" cy="6870700"/>
          </a:xfrm>
          <a:prstGeom prst="rect">
            <a:avLst/>
          </a:prstGeom>
          <a:solidFill>
            <a:srgbClr val="1B6C9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2906496"/>
            <a:ext cx="12192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prstClr val="white"/>
                </a:solidFill>
                <a:latin typeface="Arial" charset="0"/>
                <a:ea typeface="Arial" charset="0"/>
                <a:cs typeface="Arial" charset="0"/>
              </a:rPr>
              <a:t>Thank You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alphaModFix amt="1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0" t="7021" b="21821"/>
          <a:stretch/>
        </p:blipFill>
        <p:spPr>
          <a:xfrm>
            <a:off x="1" y="0"/>
            <a:ext cx="5032619" cy="685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FAA9537-978A-4727-B2A1-915B3BB38BE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77018" y="5846233"/>
            <a:ext cx="1998213" cy="632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93441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1F26EB6-ED51-0D4B-88F4-C75584CA02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9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097D78-48BF-EB4C-9238-2411334E94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2936AA-5379-5342-AEE8-639EA4FBE61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410D393-679A-9A4E-B786-203E93E001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3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0A0895E-DEB6-F844-A160-150ABA5FDE4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3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A828332-BA89-E444-9F54-3D827C409D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9F188C-0A72-6C42-B7D6-C1B4AA8D4661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3B2C8AF-306F-EF4F-A9E0-55C46ACF55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ADC3673-A0B7-C44C-BEE4-724C3ABABE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4CC38B-C17A-0E45-93B9-F89AA57AFC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6200429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AF5E1B8-AC1C-A44F-8EBA-0342BB4B23C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04164" y="413589"/>
            <a:ext cx="1921664" cy="60818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819FFC15-4609-214D-BA4D-6E23BA8CE6A5}"/>
              </a:ext>
            </a:extLst>
          </p:cNvPr>
          <p:cNvSpPr txBox="1"/>
          <p:nvPr userDrawn="1"/>
        </p:nvSpPr>
        <p:spPr>
          <a:xfrm>
            <a:off x="11016869" y="6334712"/>
            <a:ext cx="7381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907F65E-6877-9646-B5AF-2291935C4524}" type="slidenum">
              <a:rPr lang="en-US" sz="14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898205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19FFC15-4609-214D-BA4D-6E23BA8CE6A5}"/>
              </a:ext>
            </a:extLst>
          </p:cNvPr>
          <p:cNvSpPr txBox="1"/>
          <p:nvPr userDrawn="1"/>
        </p:nvSpPr>
        <p:spPr>
          <a:xfrm>
            <a:off x="11016869" y="6334712"/>
            <a:ext cx="7381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E907F65E-6877-9646-B5AF-2291935C4524}" type="slidenum">
              <a:rPr lang="en-US" sz="14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‹#›</a:t>
            </a:fld>
            <a:endParaRPr lang="en-US" sz="14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94546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.xml"/><Relationship Id="rId13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2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32.xml"/><Relationship Id="rId16" Type="http://schemas.openxmlformats.org/officeDocument/2006/relationships/slideLayout" Target="../slideLayouts/slideLayout46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slideLayout" Target="../slideLayouts/slideLayout41.xml"/><Relationship Id="rId5" Type="http://schemas.openxmlformats.org/officeDocument/2006/relationships/slideLayout" Target="../slideLayouts/slideLayout35.xml"/><Relationship Id="rId15" Type="http://schemas.openxmlformats.org/officeDocument/2006/relationships/slideLayout" Target="../slideLayouts/slideLayout45.xml"/><Relationship Id="rId10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4.xml"/><Relationship Id="rId9" Type="http://schemas.openxmlformats.org/officeDocument/2006/relationships/slideLayout" Target="../slideLayouts/slideLayout39.xml"/><Relationship Id="rId14" Type="http://schemas.openxmlformats.org/officeDocument/2006/relationships/slideLayout" Target="../slideLayouts/slideLayout4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9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56.xml"/><Relationship Id="rId19" Type="http://schemas.openxmlformats.org/officeDocument/2006/relationships/theme" Target="../theme/theme4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Relationship Id="rId22" Type="http://schemas.openxmlformats.org/officeDocument/2006/relationships/image" Target="../media/image1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D1A2AB-3EB9-7F4D-8B2A-9903DB537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7FEFDD-880B-1D4A-BA43-80575B9F6E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40E7F2-2B04-BA45-976A-1458D8EB81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9F188C-0A72-6C42-B7D6-C1B4AA8D4661}" type="datetimeFigureOut">
              <a:rPr lang="en-US" smtClean="0"/>
              <a:t>1/31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C1E83C-CB2F-614C-9CB9-5AA0BA805F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6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AEDEB6-BC0C-9A49-8C1E-18AC4F1FEE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4CC38B-C17A-0E45-93B9-F89AA57AFC5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5149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0" r:id="rId4"/>
    <p:sldLayoutId id="2147483661" r:id="rId5"/>
    <p:sldLayoutId id="2147483652" r:id="rId6"/>
    <p:sldLayoutId id="2147483653" r:id="rId7"/>
    <p:sldLayoutId id="2147483654" r:id="rId8"/>
    <p:sldLayoutId id="2147483662" r:id="rId9"/>
    <p:sldLayoutId id="2147483655" r:id="rId10"/>
    <p:sldLayoutId id="2147483656" r:id="rId11"/>
    <p:sldLayoutId id="2147483657" r:id="rId12"/>
    <p:sldLayoutId id="2147483658" r:id="rId13"/>
    <p:sldLayoutId id="2147483659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D1A2AB-3EB9-7F4D-8B2A-9903DB537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7FEFDD-880B-1D4A-BA43-80575B9F6E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40E7F2-2B04-BA45-976A-1458D8EB81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C1E83C-CB2F-614C-9CB9-5AA0BA805F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6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AEDEB6-BC0C-9A49-8C1E-18AC4F1FEE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4CC38B-C17A-0E45-93B9-F89AA57AFC5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31862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  <p:sldLayoutId id="2147483677" r:id="rId14"/>
    <p:sldLayoutId id="2147483678" r:id="rId15"/>
    <p:sldLayoutId id="2147483679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D1A2AB-3EB9-7F4D-8B2A-9903DB537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9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7FEFDD-880B-1D4A-BA43-80575B9F6E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40E7F2-2B04-BA45-976A-1458D8EB81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9F188C-0A72-6C42-B7D6-C1B4AA8D466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/31/2024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C1E83C-CB2F-614C-9CB9-5AA0BA805F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64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AEDEB6-BC0C-9A49-8C1E-18AC4F1FEE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64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4CC38B-C17A-0E45-93B9-F89AA57AFC5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2956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50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  <p:sldLayoutId id="2147483760" r:id="rId12"/>
    <p:sldLayoutId id="2147483761" r:id="rId13"/>
    <p:sldLayoutId id="2147483762" r:id="rId14"/>
    <p:sldLayoutId id="2147483763" r:id="rId15"/>
    <p:sldLayoutId id="2147483764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DB285AC-835D-48CA-BDA3-1D5B299938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1" imgW="406" imgH="403" progId="TCLayout.ActiveDocument.1">
                  <p:embed/>
                </p:oleObj>
              </mc:Choice>
              <mc:Fallback>
                <p:oleObj name="think-cell Slide" r:id="rId21" imgW="406" imgH="40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DB285AC-835D-48CA-BDA3-1D5B299938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5D1A2AB-3EB9-7F4D-8B2A-9903DB5374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365129"/>
            <a:ext cx="10515600" cy="1325563"/>
          </a:xfrm>
          <a:prstGeom prst="rect">
            <a:avLst/>
          </a:prstGeom>
        </p:spPr>
        <p:txBody>
          <a:bodyPr vert="horz" lIns="117183" tIns="58591" rIns="117183" bIns="5859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E7FEFDD-880B-1D4A-BA43-80575B9F6E6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9"/>
          </a:xfrm>
          <a:prstGeom prst="rect">
            <a:avLst/>
          </a:prstGeom>
        </p:spPr>
        <p:txBody>
          <a:bodyPr vert="horz" lIns="117183" tIns="58591" rIns="117183" bIns="58591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540E7F2-2B04-BA45-976A-1458D8EB81C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91"/>
            <a:ext cx="2743200" cy="365125"/>
          </a:xfrm>
          <a:prstGeom prst="rect">
            <a:avLst/>
          </a:prstGeom>
        </p:spPr>
        <p:txBody>
          <a:bodyPr vert="horz" lIns="117183" tIns="58591" rIns="117183" bIns="58591" rtlCol="0" anchor="ctr"/>
          <a:lstStyle>
            <a:lvl1pPr algn="l">
              <a:defRPr sz="15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defTabSz="1171845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3C1E83C-CB2F-614C-9CB9-5AA0BA805F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1" y="6356391"/>
            <a:ext cx="4114800" cy="365125"/>
          </a:xfrm>
          <a:prstGeom prst="rect">
            <a:avLst/>
          </a:prstGeom>
        </p:spPr>
        <p:txBody>
          <a:bodyPr vert="horz" lIns="117183" tIns="58591" rIns="117183" bIns="58591" rtlCol="0" anchor="ctr"/>
          <a:lstStyle>
            <a:lvl1pPr algn="ctr">
              <a:defRPr sz="15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defTabSz="1171845"/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AEDEB6-BC0C-9A49-8C1E-18AC4F1FEE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91"/>
            <a:ext cx="2743200" cy="365125"/>
          </a:xfrm>
          <a:prstGeom prst="rect">
            <a:avLst/>
          </a:prstGeom>
        </p:spPr>
        <p:txBody>
          <a:bodyPr vert="horz" lIns="117183" tIns="58591" rIns="117183" bIns="58591" rtlCol="0" anchor="ctr"/>
          <a:lstStyle>
            <a:lvl1pPr algn="r">
              <a:defRPr sz="1500" b="0" i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</a:defRPr>
            </a:lvl1pPr>
          </a:lstStyle>
          <a:p>
            <a:pPr defTabSz="1171845"/>
            <a:fld id="{424CC38B-C17A-0E45-93B9-F89AA57AFC54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1171845"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2985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  <p:sldLayoutId id="2147483786" r:id="rId5"/>
    <p:sldLayoutId id="2147483787" r:id="rId6"/>
    <p:sldLayoutId id="2147483788" r:id="rId7"/>
    <p:sldLayoutId id="2147483789" r:id="rId8"/>
    <p:sldLayoutId id="2147483790" r:id="rId9"/>
    <p:sldLayoutId id="2147483791" r:id="rId10"/>
    <p:sldLayoutId id="2147483792" r:id="rId11"/>
    <p:sldLayoutId id="2147483793" r:id="rId12"/>
    <p:sldLayoutId id="2147483794" r:id="rId13"/>
    <p:sldLayoutId id="2147483795" r:id="rId14"/>
    <p:sldLayoutId id="2147483796" r:id="rId15"/>
    <p:sldLayoutId id="2147483797" r:id="rId16"/>
    <p:sldLayoutId id="2147483798" r:id="rId17"/>
    <p:sldLayoutId id="2147483799" r:id="rId18"/>
  </p:sldLayoutIdLst>
  <p:hf hdr="0" ftr="0" dt="0"/>
  <p:txStyles>
    <p:titleStyle>
      <a:lvl1pPr algn="l" defTabSz="1171845" rtl="0" eaLnBrk="1" latinLnBrk="0" hangingPunct="1">
        <a:lnSpc>
          <a:spcPct val="90000"/>
        </a:lnSpc>
        <a:spcBef>
          <a:spcPct val="0"/>
        </a:spcBef>
        <a:buNone/>
        <a:defRPr sz="5600" b="0" i="0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92962" indent="-292962" algn="l" defTabSz="1171845" rtl="0" eaLnBrk="1" latinLnBrk="0" hangingPunct="1">
        <a:lnSpc>
          <a:spcPct val="90000"/>
        </a:lnSpc>
        <a:spcBef>
          <a:spcPts val="1282"/>
        </a:spcBef>
        <a:buFont typeface="Arial" panose="020B0604020202020204" pitchFamily="34" charset="0"/>
        <a:buChar char="•"/>
        <a:defRPr sz="36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878883" indent="-292962" algn="l" defTabSz="1171845" rtl="0" eaLnBrk="1" latinLnBrk="0" hangingPunct="1">
        <a:lnSpc>
          <a:spcPct val="90000"/>
        </a:lnSpc>
        <a:spcBef>
          <a:spcPts val="641"/>
        </a:spcBef>
        <a:buFont typeface="Arial" panose="020B0604020202020204" pitchFamily="34" charset="0"/>
        <a:buChar char="•"/>
        <a:defRPr sz="31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464803" indent="-292962" algn="l" defTabSz="1171845" rtl="0" eaLnBrk="1" latinLnBrk="0" hangingPunct="1">
        <a:lnSpc>
          <a:spcPct val="90000"/>
        </a:lnSpc>
        <a:spcBef>
          <a:spcPts val="641"/>
        </a:spcBef>
        <a:buFont typeface="Arial" panose="020B0604020202020204" pitchFamily="34" charset="0"/>
        <a:buChar char="•"/>
        <a:defRPr sz="26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2050726" indent="-292962" algn="l" defTabSz="1171845" rtl="0" eaLnBrk="1" latinLnBrk="0" hangingPunct="1">
        <a:lnSpc>
          <a:spcPct val="90000"/>
        </a:lnSpc>
        <a:spcBef>
          <a:spcPts val="641"/>
        </a:spcBef>
        <a:buFont typeface="Arial" panose="020B0604020202020204" pitchFamily="34" charset="0"/>
        <a:buChar char="•"/>
        <a:defRPr sz="23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636649" indent="-292962" algn="l" defTabSz="1171845" rtl="0" eaLnBrk="1" latinLnBrk="0" hangingPunct="1">
        <a:lnSpc>
          <a:spcPct val="90000"/>
        </a:lnSpc>
        <a:spcBef>
          <a:spcPts val="641"/>
        </a:spcBef>
        <a:buFont typeface="Arial" panose="020B0604020202020204" pitchFamily="34" charset="0"/>
        <a:buChar char="•"/>
        <a:defRPr sz="23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3222571" indent="-292962" algn="l" defTabSz="1171845" rtl="0" eaLnBrk="1" latinLnBrk="0" hangingPunct="1">
        <a:lnSpc>
          <a:spcPct val="90000"/>
        </a:lnSpc>
        <a:spcBef>
          <a:spcPts val="641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808491" indent="-292962" algn="l" defTabSz="1171845" rtl="0" eaLnBrk="1" latinLnBrk="0" hangingPunct="1">
        <a:lnSpc>
          <a:spcPct val="90000"/>
        </a:lnSpc>
        <a:spcBef>
          <a:spcPts val="641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394414" indent="-292962" algn="l" defTabSz="1171845" rtl="0" eaLnBrk="1" latinLnBrk="0" hangingPunct="1">
        <a:lnSpc>
          <a:spcPct val="90000"/>
        </a:lnSpc>
        <a:spcBef>
          <a:spcPts val="641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980331" indent="-292962" algn="l" defTabSz="1171845" rtl="0" eaLnBrk="1" latinLnBrk="0" hangingPunct="1">
        <a:lnSpc>
          <a:spcPct val="90000"/>
        </a:lnSpc>
        <a:spcBef>
          <a:spcPts val="641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7184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1pPr>
      <a:lvl2pPr marL="585922" algn="l" defTabSz="117184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2pPr>
      <a:lvl3pPr marL="1171845" algn="l" defTabSz="117184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757764" algn="l" defTabSz="117184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4pPr>
      <a:lvl5pPr marL="2343688" algn="l" defTabSz="117184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5pPr>
      <a:lvl6pPr marL="2929608" algn="l" defTabSz="117184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515529" algn="l" defTabSz="117184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4101452" algn="l" defTabSz="117184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687376" algn="l" defTabSz="1171845" rtl="0" eaLnBrk="1" latinLnBrk="0" hangingPunct="1"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1117D-5E5B-2F41-AF4A-638AE475A0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734366" y="2732633"/>
            <a:ext cx="9051235" cy="2117787"/>
          </a:xfrm>
        </p:spPr>
        <p:txBody>
          <a:bodyPr>
            <a:normAutofit fontScale="90000"/>
          </a:bodyPr>
          <a:lstStyle/>
          <a:p>
            <a:pPr algn="l"/>
            <a:r>
              <a:rPr lang="en-US" sz="6600" dirty="0"/>
              <a:t>President’s Report</a:t>
            </a:r>
            <a:br>
              <a:rPr lang="en-US" sz="6600" dirty="0"/>
            </a:br>
            <a:r>
              <a:rPr lang="en-US" sz="4400" dirty="0"/>
              <a:t>Lee Health Board of Directors Meeting</a:t>
            </a:r>
            <a:br>
              <a:rPr lang="en-US" sz="4400" dirty="0"/>
            </a:br>
            <a:r>
              <a:rPr lang="en-US" sz="3600" dirty="0"/>
              <a:t>January 25, 2024</a:t>
            </a:r>
            <a:endParaRPr lang="en-US" sz="3600" b="0" dirty="0"/>
          </a:p>
        </p:txBody>
      </p:sp>
    </p:spTree>
    <p:extLst>
      <p:ext uri="{BB962C8B-B14F-4D97-AF65-F5344CB8AC3E}">
        <p14:creationId xmlns:p14="http://schemas.microsoft.com/office/powerpoint/2010/main" val="33327504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54E23D7-E7F5-3340-A67E-B554232A7C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86158" y="1120600"/>
            <a:ext cx="7987031" cy="1022032"/>
          </a:xfrm>
        </p:spPr>
        <p:txBody>
          <a:bodyPr>
            <a:noAutofit/>
          </a:bodyPr>
          <a:lstStyle/>
          <a:p>
            <a:r>
              <a:rPr lang="en-US" sz="4400" dirty="0"/>
              <a:t>Team Member Communication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E8371C6C-FA20-544F-83B9-B63A5FB91192}"/>
              </a:ext>
            </a:extLst>
          </p:cNvPr>
          <p:cNvSpPr txBox="1">
            <a:spLocks/>
          </p:cNvSpPr>
          <p:nvPr/>
        </p:nvSpPr>
        <p:spPr>
          <a:xfrm>
            <a:off x="3566164" y="2609211"/>
            <a:ext cx="63814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rgbClr val="41B4E6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en-US" sz="2400" dirty="0"/>
              <a:t>Medical Staff Town Hall: 9/14	</a:t>
            </a:r>
          </a:p>
          <a:p>
            <a:pPr lvl="0"/>
            <a:r>
              <a:rPr lang="en-US" sz="2400" dirty="0"/>
              <a:t>Lee Physician Group Town Halls: 9/1 and 9/6</a:t>
            </a:r>
          </a:p>
          <a:p>
            <a:pPr lvl="0"/>
            <a:r>
              <a:rPr lang="en-US" sz="2400" dirty="0"/>
              <a:t>Leadership Update: 10/30</a:t>
            </a:r>
          </a:p>
          <a:p>
            <a:pPr lvl="0"/>
            <a:r>
              <a:rPr lang="en-US" dirty="0"/>
              <a:t>Outreach Team Member Meeting: 10/31</a:t>
            </a:r>
          </a:p>
          <a:p>
            <a:pPr lvl="0"/>
            <a:r>
              <a:rPr lang="en-US" dirty="0"/>
              <a:t>Staff Town Halls: 11/2, 11/10 and 11/14</a:t>
            </a:r>
          </a:p>
          <a:p>
            <a:pPr lvl="0"/>
            <a:r>
              <a:rPr lang="en-US" dirty="0"/>
              <a:t>Lee Health Leadership Alumni Meeting 11/14</a:t>
            </a:r>
          </a:p>
          <a:p>
            <a:r>
              <a:rPr lang="en-US" dirty="0"/>
              <a:t>VP Town Hall: 12/21</a:t>
            </a:r>
          </a:p>
          <a:p>
            <a:pPr lvl="0"/>
            <a:endParaRPr lang="en-US" dirty="0"/>
          </a:p>
          <a:p>
            <a:pPr marL="342900" indent="-342900">
              <a:lnSpc>
                <a:spcPct val="100000"/>
              </a:lnSpc>
              <a:buClr>
                <a:srgbClr val="41B4E6"/>
              </a:buClr>
              <a:buFont typeface="Arial" panose="020B0604020202020204" pitchFamily="34" charset="0"/>
              <a:buChar char="•"/>
            </a:pPr>
            <a:endParaRPr lang="en-US" dirty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342900" indent="-342900">
              <a:lnSpc>
                <a:spcPct val="100000"/>
              </a:lnSpc>
              <a:buClr>
                <a:srgbClr val="41B4E6"/>
              </a:buClr>
              <a:buFont typeface="Arial" panose="020B0604020202020204" pitchFamily="34" charset="0"/>
              <a:buChar char="•"/>
            </a:pPr>
            <a:endParaRPr lang="en-US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3CA98B6-059C-C0CB-EBB1-0CBB70FD4FB1}"/>
              </a:ext>
            </a:extLst>
          </p:cNvPr>
          <p:cNvSpPr txBox="1"/>
          <p:nvPr/>
        </p:nvSpPr>
        <p:spPr>
          <a:xfrm>
            <a:off x="9753597" y="2609211"/>
            <a:ext cx="1333613" cy="34655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>
              <a:lnSpc>
                <a:spcPct val="90000"/>
              </a:lnSpc>
              <a:spcBef>
                <a:spcPts val="1000"/>
              </a:spcBef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5</a:t>
            </a:r>
          </a:p>
          <a:p>
            <a:pPr algn="r">
              <a:lnSpc>
                <a:spcPct val="90000"/>
              </a:lnSpc>
              <a:spcBef>
                <a:spcPts val="1000"/>
              </a:spcBef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</a:t>
            </a:r>
          </a:p>
          <a:p>
            <a:pPr algn="r">
              <a:lnSpc>
                <a:spcPct val="90000"/>
              </a:lnSpc>
              <a:spcBef>
                <a:spcPts val="1000"/>
              </a:spcBef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0</a:t>
            </a:r>
          </a:p>
          <a:p>
            <a:pPr algn="r">
              <a:lnSpc>
                <a:spcPct val="90000"/>
              </a:lnSpc>
              <a:spcBef>
                <a:spcPts val="1000"/>
              </a:spcBef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</a:t>
            </a:r>
          </a:p>
          <a:p>
            <a:pPr algn="r">
              <a:lnSpc>
                <a:spcPct val="90000"/>
              </a:lnSpc>
              <a:spcBef>
                <a:spcPts val="1000"/>
              </a:spcBef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0</a:t>
            </a:r>
          </a:p>
          <a:p>
            <a:pPr algn="r">
              <a:lnSpc>
                <a:spcPct val="90000"/>
              </a:lnSpc>
              <a:spcBef>
                <a:spcPts val="1000"/>
              </a:spcBef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</a:p>
          <a:p>
            <a:pPr algn="r">
              <a:lnSpc>
                <a:spcPct val="90000"/>
              </a:lnSpc>
              <a:spcBef>
                <a:spcPts val="1000"/>
              </a:spcBef>
            </a:pPr>
            <a:r>
              <a:rPr lang="en-US" sz="24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</a:t>
            </a:r>
          </a:p>
          <a:p>
            <a:pPr lvl="0" algn="r"/>
            <a:endParaRPr lang="en-US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7C9A764-7439-465E-460D-249C07C6ED0C}"/>
              </a:ext>
            </a:extLst>
          </p:cNvPr>
          <p:cNvSpPr txBox="1"/>
          <p:nvPr/>
        </p:nvSpPr>
        <p:spPr>
          <a:xfrm>
            <a:off x="3657601" y="2142632"/>
            <a:ext cx="7435272" cy="369332"/>
          </a:xfrm>
          <a:prstGeom prst="rect">
            <a:avLst/>
          </a:prstGeom>
          <a:solidFill>
            <a:schemeClr val="accent1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Event						               Attendees</a:t>
            </a:r>
          </a:p>
        </p:txBody>
      </p:sp>
    </p:spTree>
    <p:extLst>
      <p:ext uri="{BB962C8B-B14F-4D97-AF65-F5344CB8AC3E}">
        <p14:creationId xmlns:p14="http://schemas.microsoft.com/office/powerpoint/2010/main" val="39611859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38">
            <a:extLst>
              <a:ext uri="{FF2B5EF4-FFF2-40B4-BE49-F238E27FC236}">
                <a16:creationId xmlns:a16="http://schemas.microsoft.com/office/drawing/2014/main" id="{8F7DBA11-D80E-2F40-8436-6EBF559DEB3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6963" b="68000"/>
          <a:stretch/>
        </p:blipFill>
        <p:spPr>
          <a:xfrm>
            <a:off x="56485" y="47870"/>
            <a:ext cx="12192000" cy="171704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49F2351F-2F33-4D40-86F4-5B0ED5CCA30D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380389" y="250788"/>
            <a:ext cx="10838771" cy="1270000"/>
          </a:xfrm>
        </p:spPr>
        <p:txBody>
          <a:bodyPr>
            <a:normAutofit/>
          </a:bodyPr>
          <a:lstStyle/>
          <a:p>
            <a:pPr algn="ctr"/>
            <a:r>
              <a:rPr lang="en-US" sz="5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munity Town Halls</a:t>
            </a:r>
          </a:p>
        </p:txBody>
      </p:sp>
      <p:graphicFrame>
        <p:nvGraphicFramePr>
          <p:cNvPr id="61" name="Table 60">
            <a:extLst>
              <a:ext uri="{FF2B5EF4-FFF2-40B4-BE49-F238E27FC236}">
                <a16:creationId xmlns:a16="http://schemas.microsoft.com/office/drawing/2014/main" id="{196AFFDE-D560-4658-9AEC-B4D30297839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1244086"/>
              </p:ext>
            </p:extLst>
          </p:nvPr>
        </p:nvGraphicFramePr>
        <p:xfrm>
          <a:off x="746094" y="2530200"/>
          <a:ext cx="10812781" cy="5791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747619">
                  <a:extLst>
                    <a:ext uri="{9D8B030D-6E8A-4147-A177-3AD203B41FA5}">
                      <a16:colId xmlns:a16="http://schemas.microsoft.com/office/drawing/2014/main" val="4102773760"/>
                    </a:ext>
                  </a:extLst>
                </a:gridCol>
                <a:gridCol w="1792896">
                  <a:extLst>
                    <a:ext uri="{9D8B030D-6E8A-4147-A177-3AD203B41FA5}">
                      <a16:colId xmlns:a16="http://schemas.microsoft.com/office/drawing/2014/main" val="2792998475"/>
                    </a:ext>
                  </a:extLst>
                </a:gridCol>
                <a:gridCol w="1848233">
                  <a:extLst>
                    <a:ext uri="{9D8B030D-6E8A-4147-A177-3AD203B41FA5}">
                      <a16:colId xmlns:a16="http://schemas.microsoft.com/office/drawing/2014/main" val="575464849"/>
                    </a:ext>
                  </a:extLst>
                </a:gridCol>
                <a:gridCol w="1752631">
                  <a:extLst>
                    <a:ext uri="{9D8B030D-6E8A-4147-A177-3AD203B41FA5}">
                      <a16:colId xmlns:a16="http://schemas.microsoft.com/office/drawing/2014/main" val="3427970439"/>
                    </a:ext>
                  </a:extLst>
                </a:gridCol>
                <a:gridCol w="1894917">
                  <a:extLst>
                    <a:ext uri="{9D8B030D-6E8A-4147-A177-3AD203B41FA5}">
                      <a16:colId xmlns:a16="http://schemas.microsoft.com/office/drawing/2014/main" val="1174151152"/>
                    </a:ext>
                  </a:extLst>
                </a:gridCol>
                <a:gridCol w="1776485">
                  <a:extLst>
                    <a:ext uri="{9D8B030D-6E8A-4147-A177-3AD203B41FA5}">
                      <a16:colId xmlns:a16="http://schemas.microsoft.com/office/drawing/2014/main" val="2292986018"/>
                    </a:ext>
                  </a:extLst>
                </a:gridCol>
              </a:tblGrid>
              <a:tr h="380734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nuary  4</a:t>
                      </a:r>
                    </a:p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 Attendees</a:t>
                      </a:r>
                    </a:p>
                  </a:txBody>
                  <a:tcPr anchor="ctr">
                    <a:solidFill>
                      <a:srgbClr val="05387A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nuary 5</a:t>
                      </a:r>
                    </a:p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Attendees</a:t>
                      </a:r>
                    </a:p>
                  </a:txBody>
                  <a:tcPr anchor="ctr">
                    <a:solidFill>
                      <a:srgbClr val="006A9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nuary 8</a:t>
                      </a:r>
                    </a:p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1 Attendees</a:t>
                      </a:r>
                    </a:p>
                  </a:txBody>
                  <a:tcPr anchor="ctr">
                    <a:solidFill>
                      <a:srgbClr val="41B4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nuary 9</a:t>
                      </a:r>
                    </a:p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 Attendees</a:t>
                      </a:r>
                    </a:p>
                  </a:txBody>
                  <a:tcPr anchor="ctr">
                    <a:solidFill>
                      <a:srgbClr val="516D8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nuary 10</a:t>
                      </a:r>
                    </a:p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8 Attendees</a:t>
                      </a:r>
                    </a:p>
                  </a:txBody>
                  <a:tcPr anchor="ctr">
                    <a:solidFill>
                      <a:srgbClr val="78BD2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anuary 11</a:t>
                      </a:r>
                    </a:p>
                    <a:p>
                      <a:pPr algn="ctr"/>
                      <a:r>
                        <a:rPr lang="en-US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6 Attendees</a:t>
                      </a:r>
                    </a:p>
                  </a:txBody>
                  <a:tcPr anchor="ctr">
                    <a:solidFill>
                      <a:srgbClr val="0075A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0661992"/>
                  </a:ext>
                </a:extLst>
              </a:tr>
            </a:tbl>
          </a:graphicData>
        </a:graphic>
      </p:graphicFrame>
      <p:sp>
        <p:nvSpPr>
          <p:cNvPr id="57" name="Content Placeholder 2">
            <a:extLst>
              <a:ext uri="{FF2B5EF4-FFF2-40B4-BE49-F238E27FC236}">
                <a16:creationId xmlns:a16="http://schemas.microsoft.com/office/drawing/2014/main" id="{12106F10-0873-4BD0-9B60-E66D5C7C0138}"/>
              </a:ext>
            </a:extLst>
          </p:cNvPr>
          <p:cNvSpPr txBox="1">
            <a:spLocks/>
          </p:cNvSpPr>
          <p:nvPr/>
        </p:nvSpPr>
        <p:spPr>
          <a:xfrm>
            <a:off x="171937" y="3662956"/>
            <a:ext cx="2833531" cy="3640114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b="1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ct 4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e Allen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ne Champion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thy Bridge-Liles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a Clarke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se Everly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vid Klein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rgbClr val="0075A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Content Placeholder 2">
            <a:extLst>
              <a:ext uri="{FF2B5EF4-FFF2-40B4-BE49-F238E27FC236}">
                <a16:creationId xmlns:a16="http://schemas.microsoft.com/office/drawing/2014/main" id="{A1FF753D-7790-4A6F-8C01-E9BAAA63F088}"/>
              </a:ext>
            </a:extLst>
          </p:cNvPr>
          <p:cNvSpPr txBox="1">
            <a:spLocks/>
          </p:cNvSpPr>
          <p:nvPr/>
        </p:nvSpPr>
        <p:spPr>
          <a:xfrm>
            <a:off x="2062019" y="3662956"/>
            <a:ext cx="2741329" cy="1371600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b="1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ct 5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thy Bridge-Liles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 Adler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a Clarke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vid Collins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se Everly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rgbClr val="0075A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Content Placeholder 2">
            <a:extLst>
              <a:ext uri="{FF2B5EF4-FFF2-40B4-BE49-F238E27FC236}">
                <a16:creationId xmlns:a16="http://schemas.microsoft.com/office/drawing/2014/main" id="{DDFCF68B-6E75-4B6C-8396-540A0C95FB9E}"/>
              </a:ext>
            </a:extLst>
          </p:cNvPr>
          <p:cNvSpPr txBox="1">
            <a:spLocks/>
          </p:cNvSpPr>
          <p:nvPr/>
        </p:nvSpPr>
        <p:spPr>
          <a:xfrm>
            <a:off x="4203533" y="3662956"/>
            <a:ext cx="1987707" cy="370734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b="1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ct 3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vid Collins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vid Klein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ne Allen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thy Bridge-Liles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a Clarke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se Everly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rgbClr val="0075A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Content Placeholder 2">
            <a:extLst>
              <a:ext uri="{FF2B5EF4-FFF2-40B4-BE49-F238E27FC236}">
                <a16:creationId xmlns:a16="http://schemas.microsoft.com/office/drawing/2014/main" id="{3301DE97-091A-4AB9-8D19-A3BF60AAAB05}"/>
              </a:ext>
            </a:extLst>
          </p:cNvPr>
          <p:cNvSpPr txBox="1">
            <a:spLocks/>
          </p:cNvSpPr>
          <p:nvPr/>
        </p:nvSpPr>
        <p:spPr>
          <a:xfrm>
            <a:off x="5909415" y="3662956"/>
            <a:ext cx="2234749" cy="370734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b="1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ct 1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se Everly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a Clarke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vid Collins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vid Klein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rgbClr val="0075A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rgbClr val="0075A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Content Placeholder 2">
            <a:extLst>
              <a:ext uri="{FF2B5EF4-FFF2-40B4-BE49-F238E27FC236}">
                <a16:creationId xmlns:a16="http://schemas.microsoft.com/office/drawing/2014/main" id="{FACA9813-453B-404A-9EDE-FBA8F32353F2}"/>
              </a:ext>
            </a:extLst>
          </p:cNvPr>
          <p:cNvSpPr txBox="1">
            <a:spLocks/>
          </p:cNvSpPr>
          <p:nvPr/>
        </p:nvSpPr>
        <p:spPr>
          <a:xfrm>
            <a:off x="7838332" y="3662956"/>
            <a:ext cx="2164668" cy="370734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b="1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ct 2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a Clarke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ncy McGovern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thy Bridge-Liles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se Everly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rgbClr val="0075A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endParaRPr lang="en-US" sz="1600" dirty="0">
              <a:solidFill>
                <a:srgbClr val="0075A8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Content Placeholder 2">
            <a:extLst>
              <a:ext uri="{FF2B5EF4-FFF2-40B4-BE49-F238E27FC236}">
                <a16:creationId xmlns:a16="http://schemas.microsoft.com/office/drawing/2014/main" id="{B687CAFF-86C9-4AA9-88B4-9D823E27C2F1}"/>
              </a:ext>
            </a:extLst>
          </p:cNvPr>
          <p:cNvSpPr txBox="1">
            <a:spLocks/>
          </p:cNvSpPr>
          <p:nvPr/>
        </p:nvSpPr>
        <p:spPr>
          <a:xfrm>
            <a:off x="9652492" y="3662956"/>
            <a:ext cx="2164668" cy="370734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b="1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ct 1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ve Brown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rese Everly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athy Bridge-Liles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nna Clarke</a:t>
            </a:r>
          </a:p>
          <a:p>
            <a:pPr marL="0" indent="0" algn="ctr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en-US" sz="1600" dirty="0">
                <a:solidFill>
                  <a:srgbClr val="0075A8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ncy McGovern</a:t>
            </a:r>
          </a:p>
        </p:txBody>
      </p: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68F4D522-54CA-4497-94C2-89F8CBC7E02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 flipV="1">
            <a:off x="3364124" y="3088194"/>
            <a:ext cx="2147" cy="548640"/>
          </a:xfrm>
          <a:prstGeom prst="line">
            <a:avLst/>
          </a:prstGeom>
          <a:ln w="22225">
            <a:solidFill>
              <a:srgbClr val="41B4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0BB191F6-32C2-4B28-95E5-524652D863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 flipV="1">
            <a:off x="10619080" y="3088194"/>
            <a:ext cx="2147" cy="548640"/>
          </a:xfrm>
          <a:prstGeom prst="line">
            <a:avLst/>
          </a:prstGeom>
          <a:ln w="22225">
            <a:solidFill>
              <a:srgbClr val="41B4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25F4DA81-14E6-4B6D-962F-BB9A87DD51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 flipV="1">
            <a:off x="5194973" y="3088194"/>
            <a:ext cx="2147" cy="548640"/>
          </a:xfrm>
          <a:prstGeom prst="line">
            <a:avLst/>
          </a:prstGeom>
          <a:ln w="22225">
            <a:solidFill>
              <a:srgbClr val="41B4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>
            <a:extLst>
              <a:ext uri="{FF2B5EF4-FFF2-40B4-BE49-F238E27FC236}">
                <a16:creationId xmlns:a16="http://schemas.microsoft.com/office/drawing/2014/main" id="{C3FD9686-4ADA-4B6B-810B-C861767A85F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 flipV="1">
            <a:off x="1598835" y="3088194"/>
            <a:ext cx="2147" cy="548640"/>
          </a:xfrm>
          <a:prstGeom prst="line">
            <a:avLst/>
          </a:prstGeom>
          <a:ln w="22225">
            <a:solidFill>
              <a:srgbClr val="41B4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115A3C02-90CD-4D10-BD97-18A375CAFA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 flipV="1">
            <a:off x="7024643" y="3098354"/>
            <a:ext cx="2147" cy="548640"/>
          </a:xfrm>
          <a:prstGeom prst="line">
            <a:avLst/>
          </a:prstGeom>
          <a:ln w="22225">
            <a:solidFill>
              <a:srgbClr val="41B4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98CC4C36-62BD-42DD-A4AB-48D7B548E4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CxnSpPr>
            <a:cxnSpLocks/>
          </p:cNvCxnSpPr>
          <p:nvPr/>
        </p:nvCxnSpPr>
        <p:spPr>
          <a:xfrm flipH="1" flipV="1">
            <a:off x="8852377" y="3088194"/>
            <a:ext cx="2147" cy="548640"/>
          </a:xfrm>
          <a:prstGeom prst="line">
            <a:avLst/>
          </a:prstGeom>
          <a:ln w="22225">
            <a:solidFill>
              <a:srgbClr val="41B4E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02437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1117D-5E5B-2F41-AF4A-638AE475A0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01911" y="554485"/>
            <a:ext cx="8705851" cy="999143"/>
          </a:xfrm>
        </p:spPr>
        <p:txBody>
          <a:bodyPr>
            <a:normAutofit fontScale="90000"/>
          </a:bodyPr>
          <a:lstStyle/>
          <a:p>
            <a:pPr algn="l"/>
            <a:r>
              <a:rPr lang="en-US" sz="4600" dirty="0"/>
              <a:t>Key Themes and Questions</a:t>
            </a:r>
            <a:br>
              <a:rPr lang="en-US" sz="4600" dirty="0"/>
            </a:br>
            <a:endParaRPr lang="en-US" sz="4600" b="0" dirty="0">
              <a:solidFill>
                <a:srgbClr val="516D86"/>
              </a:solidFill>
            </a:endParaRP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E2451943-AA93-4D0D-9142-91E7B7BF5F1A}"/>
              </a:ext>
            </a:extLst>
          </p:cNvPr>
          <p:cNvSpPr txBox="1">
            <a:spLocks/>
          </p:cNvSpPr>
          <p:nvPr/>
        </p:nvSpPr>
        <p:spPr>
          <a:xfrm>
            <a:off x="3328483" y="1054056"/>
            <a:ext cx="8624571" cy="565154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rgbClr val="78BD2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Keeping our Safety Net Mis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What are the impacts of conversion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Is Lee Health preparing to sell or convert to a for profit?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Board Accountability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Local Represent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Differences: Special District Govt vs. Community Focused Nonprofi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Any impact to patient care and services to the community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Commitments to communi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Access to car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The impact of competi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The role of the Board of County Commissioner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Questions about expanding outside of Lee Count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/>
              <a:t>How will this impact employees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78BD2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 taxing to fund safety net services an option? </a:t>
            </a:r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9967034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61117D-5E5B-2F41-AF4A-638AE475A09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27465" y="2005339"/>
            <a:ext cx="10085251" cy="2117787"/>
          </a:xfrm>
        </p:spPr>
        <p:txBody>
          <a:bodyPr>
            <a:normAutofit/>
          </a:bodyPr>
          <a:lstStyle/>
          <a:p>
            <a:pPr algn="l"/>
            <a:r>
              <a:rPr lang="en-US" sz="6700" dirty="0"/>
              <a:t>Thank you!</a:t>
            </a:r>
            <a:endParaRPr lang="en-US" sz="2700" b="0" dirty="0">
              <a:solidFill>
                <a:srgbClr val="516D86"/>
              </a:solidFill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1C2B6214-EABD-47B9-9778-483DB5108B8F}"/>
              </a:ext>
            </a:extLst>
          </p:cNvPr>
          <p:cNvSpPr txBox="1">
            <a:spLocks/>
          </p:cNvSpPr>
          <p:nvPr/>
        </p:nvSpPr>
        <p:spPr>
          <a:xfrm>
            <a:off x="1208199" y="4076571"/>
            <a:ext cx="8353244" cy="7794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>
                <a:solidFill>
                  <a:srgbClr val="41B4E6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2800" dirty="0">
                <a:solidFill>
                  <a:srgbClr val="006A98"/>
                </a:solidFill>
              </a:rPr>
              <a:t>Questions? </a:t>
            </a:r>
            <a:endParaRPr lang="en-US" sz="2000" dirty="0">
              <a:solidFill>
                <a:srgbClr val="006A98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9205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8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50C59C10AD24A4BAA9470787DC02BE0" ma:contentTypeVersion="13" ma:contentTypeDescription="Create a new document." ma:contentTypeScope="" ma:versionID="68ba2ec3c0e10cac63132f4041f37d25">
  <xsd:schema xmlns:xsd="http://www.w3.org/2001/XMLSchema" xmlns:xs="http://www.w3.org/2001/XMLSchema" xmlns:p="http://schemas.microsoft.com/office/2006/metadata/properties" xmlns:ns2="3fa6405c-a714-42d8-8b48-d5d87266be39" xmlns:ns3="84e5fe34-a7aa-4b95-97b8-b6e2c3cda608" targetNamespace="http://schemas.microsoft.com/office/2006/metadata/properties" ma:root="true" ma:fieldsID="45bfd39c4d673a44aa007c3def2930b4" ns2:_="" ns3:_="">
    <xsd:import namespace="3fa6405c-a714-42d8-8b48-d5d87266be39"/>
    <xsd:import namespace="84e5fe34-a7aa-4b95-97b8-b6e2c3cda608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ingHintHash" minOccurs="0"/>
                <xsd:element ref="ns2:SharedWithDetails" minOccurs="0"/>
                <xsd:element ref="ns2:LastSharedByUser" minOccurs="0"/>
                <xsd:element ref="ns2:LastSharedByTime" minOccurs="0"/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a6405c-a714-42d8-8b48-d5d87266be39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9" nillable="true" ma:displayName="Sharing Hint Hash" ma:internalName="SharingHintHash" ma:readOnly="true">
      <xsd:simpleType>
        <xsd:restriction base="dms:Text"/>
      </xsd:simpleType>
    </xsd:element>
    <xsd:element name="SharedWithDetails" ma:index="1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LastSharedByUser" ma:index="11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2" nillable="true" ma:displayName="Last Shared By Time" ma:description="" ma:internalName="LastSharedByTim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e5fe34-a7aa-4b95-97b8-b6e2c3cda60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3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4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5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6" nillable="true" ma:displayName="MediaServiceAutoTags" ma:description="" ma:internalName="MediaServiceAutoTags" ma:readOnly="true">
      <xsd:simpleType>
        <xsd:restriction base="dms:Text"/>
      </xsd:simpleType>
    </xsd:element>
    <xsd:element name="MediaServiceOCR" ma:index="17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5B39A6A-DFE0-40D9-8970-0ECFE91D6680}">
  <ds:schemaRefs>
    <ds:schemaRef ds:uri="http://purl.org/dc/terms/"/>
    <ds:schemaRef ds:uri="84e5fe34-a7aa-4b95-97b8-b6e2c3cda608"/>
    <ds:schemaRef ds:uri="http://schemas.microsoft.com/office/2006/documentManagement/types"/>
    <ds:schemaRef ds:uri="http://schemas.microsoft.com/office/2006/metadata/properties"/>
    <ds:schemaRef ds:uri="3fa6405c-a714-42d8-8b48-d5d87266be39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5583B1BD-47CC-44E6-873B-161165BD608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9640F48F-CB2D-4397-9C52-EEB55B994F9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fa6405c-a714-42d8-8b48-d5d87266be39"/>
    <ds:schemaRef ds:uri="84e5fe34-a7aa-4b95-97b8-b6e2c3cda60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3376</TotalTime>
  <Words>284</Words>
  <Application>Microsoft Office PowerPoint</Application>
  <PresentationFormat>Widescreen</PresentationFormat>
  <Paragraphs>89</Paragraphs>
  <Slides>5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Calibri</vt:lpstr>
      <vt:lpstr>Calibri Light</vt:lpstr>
      <vt:lpstr>Office Theme</vt:lpstr>
      <vt:lpstr>1_Office Theme</vt:lpstr>
      <vt:lpstr>6_Office Theme</vt:lpstr>
      <vt:lpstr>8_Office Theme</vt:lpstr>
      <vt:lpstr>think-cell Slide</vt:lpstr>
      <vt:lpstr>President’s Report Lee Health Board of Directors Meeting January 25, 2024</vt:lpstr>
      <vt:lpstr>Team Member Communication</vt:lpstr>
      <vt:lpstr>Community Town Halls</vt:lpstr>
      <vt:lpstr>Key Themes and Questions </vt:lpstr>
      <vt:lpstr>Thank you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tie Stephens</dc:creator>
  <cp:lastModifiedBy>Suarez, Karla</cp:lastModifiedBy>
  <cp:revision>393</cp:revision>
  <cp:lastPrinted>2018-12-03T19:48:25Z</cp:lastPrinted>
  <dcterms:created xsi:type="dcterms:W3CDTF">2018-04-25T19:30:47Z</dcterms:created>
  <dcterms:modified xsi:type="dcterms:W3CDTF">2024-01-31T19:32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50C59C10AD24A4BAA9470787DC02BE0</vt:lpwstr>
  </property>
</Properties>
</file>